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5.xml" ContentType="application/vnd.openxmlformats-officedocument.theme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heme/theme6.xml" ContentType="application/vnd.openxmlformats-officedocument.theme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theme/theme7.xml" ContentType="application/vnd.openxmlformats-officedocument.theme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8.xml" ContentType="application/vnd.openxmlformats-officedocument.theme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1.xml" ContentType="application/vnd.openxmlformats-officedocument.drawingml.chart+xml"/>
  <Override PartName="/ppt/theme/themeOverride2.xml" ContentType="application/vnd.openxmlformats-officedocument.themeOverride+xml"/>
  <Override PartName="/ppt/charts/chart12.xml" ContentType="application/vnd.openxmlformats-officedocument.drawingml.chart+xml"/>
  <Override PartName="/ppt/theme/themeOverride3.xml" ContentType="application/vnd.openxmlformats-officedocument.themeOverride+xml"/>
  <Override PartName="/ppt/charts/chart13.xml" ContentType="application/vnd.openxmlformats-officedocument.drawingml.chart+xml"/>
  <Override PartName="/ppt/theme/themeOverride4.xml" ContentType="application/vnd.openxmlformats-officedocument.themeOverride+xml"/>
  <Override PartName="/ppt/charts/chart14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 bookmarkIdSeed="6">
  <p:sldMasterIdLst>
    <p:sldMasterId id="2147484392" r:id="rId4"/>
    <p:sldMasterId id="2147485399" r:id="rId5"/>
    <p:sldMasterId id="2147484450" r:id="rId6"/>
    <p:sldMasterId id="2147484477" r:id="rId7"/>
    <p:sldMasterId id="2147484905" r:id="rId8"/>
    <p:sldMasterId id="2147485163" r:id="rId9"/>
    <p:sldMasterId id="2147485291" r:id="rId10"/>
    <p:sldMasterId id="2147485305" r:id="rId11"/>
  </p:sldMasterIdLst>
  <p:notesMasterIdLst>
    <p:notesMasterId r:id="rId61"/>
  </p:notesMasterIdLst>
  <p:handoutMasterIdLst>
    <p:handoutMasterId r:id="rId62"/>
  </p:handoutMasterIdLst>
  <p:sldIdLst>
    <p:sldId id="2144446308" r:id="rId12"/>
    <p:sldId id="2280" r:id="rId13"/>
    <p:sldId id="2144446321" r:id="rId14"/>
    <p:sldId id="2147474280" r:id="rId15"/>
    <p:sldId id="566" r:id="rId16"/>
    <p:sldId id="2147474317" r:id="rId17"/>
    <p:sldId id="2298" r:id="rId18"/>
    <p:sldId id="2144446322" r:id="rId19"/>
    <p:sldId id="266" r:id="rId20"/>
    <p:sldId id="2147474309" r:id="rId21"/>
    <p:sldId id="2147474316" r:id="rId22"/>
    <p:sldId id="2144446323" r:id="rId23"/>
    <p:sldId id="2144446324" r:id="rId24"/>
    <p:sldId id="2144446325" r:id="rId25"/>
    <p:sldId id="2144446326" r:id="rId26"/>
    <p:sldId id="2144446327" r:id="rId27"/>
    <p:sldId id="2144446328" r:id="rId28"/>
    <p:sldId id="2144446329" r:id="rId29"/>
    <p:sldId id="2144446330" r:id="rId30"/>
    <p:sldId id="2144446336" r:id="rId31"/>
    <p:sldId id="2144446337" r:id="rId32"/>
    <p:sldId id="2144446338" r:id="rId33"/>
    <p:sldId id="2144446339" r:id="rId34"/>
    <p:sldId id="2285" r:id="rId35"/>
    <p:sldId id="2144446342" r:id="rId36"/>
    <p:sldId id="2144446343" r:id="rId37"/>
    <p:sldId id="2144446345" r:id="rId38"/>
    <p:sldId id="2144446346" r:id="rId39"/>
    <p:sldId id="2144446347" r:id="rId40"/>
    <p:sldId id="2144446348" r:id="rId41"/>
    <p:sldId id="1824" r:id="rId42"/>
    <p:sldId id="2144446350" r:id="rId43"/>
    <p:sldId id="2147474268" r:id="rId44"/>
    <p:sldId id="2303" r:id="rId45"/>
    <p:sldId id="2147474306" r:id="rId46"/>
    <p:sldId id="2147474290" r:id="rId47"/>
    <p:sldId id="2147474308" r:id="rId48"/>
    <p:sldId id="2144446351" r:id="rId49"/>
    <p:sldId id="2144446352" r:id="rId50"/>
    <p:sldId id="2144446353" r:id="rId51"/>
    <p:sldId id="2144446354" r:id="rId52"/>
    <p:sldId id="417" r:id="rId53"/>
    <p:sldId id="858" r:id="rId54"/>
    <p:sldId id="2147474288" r:id="rId55"/>
    <p:sldId id="2147474296" r:id="rId56"/>
    <p:sldId id="2147474314" r:id="rId57"/>
    <p:sldId id="2147474315" r:id="rId58"/>
    <p:sldId id="2281" r:id="rId59"/>
    <p:sldId id="2144446123" r:id="rId60"/>
  </p:sldIdLst>
  <p:sldSz cx="12192000" cy="6858000"/>
  <p:notesSz cx="6858000" cy="9144000"/>
  <p:embeddedFontLst>
    <p:embeddedFont>
      <p:font typeface="Arial Black" panose="020B0A04020102020204" pitchFamily="34" charset="0"/>
      <p:bold r:id="rId63"/>
    </p:embeddedFont>
    <p:embeddedFont>
      <p:font typeface="Barlow" panose="00000500000000000000" pitchFamily="2" charset="0"/>
      <p:regular r:id="rId64"/>
      <p:bold r:id="rId65"/>
      <p:italic r:id="rId66"/>
      <p:boldItalic r:id="rId67"/>
    </p:embeddedFont>
    <p:embeddedFont>
      <p:font typeface="Century Gothic" panose="020B0502020202020204" pitchFamily="34" charset="0"/>
      <p:regular r:id="rId68"/>
      <p:bold r:id="rId69"/>
      <p:italic r:id="rId70"/>
      <p:boldItalic r:id="rId71"/>
    </p:embeddedFont>
    <p:embeddedFont>
      <p:font typeface="HelveticaNeueLT Std Lt Cn" panose="020B0604020202020204" charset="0"/>
      <p:regular r:id="rId72"/>
      <p:bold r:id="rId73"/>
      <p:italic r:id="rId74"/>
      <p:boldItalic r:id="rId75"/>
    </p:embeddedFont>
    <p:embeddedFont>
      <p:font typeface="Wingdings 2" panose="05020102010507070707" pitchFamily="18" charset="2"/>
      <p:regular r:id="rId76"/>
    </p:embeddedFont>
  </p:embeddedFontLst>
  <p:custDataLst>
    <p:tags r:id="rId7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CD812D-68A0-2543-2124-41C6B8AE1203}" name="Darrell Bricker" initials="DB" userId="S::Darrell.Bricker@Ipsos.com::fb9a1de1-af3b-499e-b601-fe4e0e028be5" providerId="AD"/>
  <p188:author id="{854A019A-6131-7FDA-9F18-22D85D2D75F9}" name="Julia Nurse" initials="JN" userId="S::julia.nurse@Ipsos.com::a0f02c22-5676-46e0-8925-6d7c362befa2" providerId="AD"/>
  <p188:author id="{18339FDF-E9F3-01BB-5972-5AF024448DEF}" name="Emineh Babayan" initials="EB" userId="S::Emineh.Babayan@ipsos.com::bb342a90-9a90-4e78-9039-07da24b31d1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Julia Nurse" initials="JN" lastIdx="80" clrIdx="1">
    <p:extLst>
      <p:ext uri="{19B8F6BF-5375-455C-9EA6-DF929625EA0E}">
        <p15:presenceInfo xmlns:p15="http://schemas.microsoft.com/office/powerpoint/2012/main" userId="S::julia.nurse@Ipsos.com::a0f02c22-5676-46e0-8925-6d7c362befa2" providerId="AD"/>
      </p:ext>
    </p:extLst>
  </p:cmAuthor>
  <p:cmAuthor id="3" name="Ian Jarvis" initials="IJ" lastIdx="14" clrIdx="2">
    <p:extLst>
      <p:ext uri="{19B8F6BF-5375-455C-9EA6-DF929625EA0E}">
        <p15:presenceInfo xmlns:p15="http://schemas.microsoft.com/office/powerpoint/2012/main" userId="S-1-5-21-3343930222-3471731563-1258133589-336814" providerId="AD"/>
      </p:ext>
    </p:extLst>
  </p:cmAuthor>
  <p:cmAuthor id="4" name="Hannah Williams" initials="HW" lastIdx="3" clrIdx="3">
    <p:extLst>
      <p:ext uri="{19B8F6BF-5375-455C-9EA6-DF929625EA0E}">
        <p15:presenceInfo xmlns:p15="http://schemas.microsoft.com/office/powerpoint/2012/main" userId="S::hannah.williams@ipsos.com::5910482a-1124-4d8f-8118-860f2cd026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2A3A"/>
    <a:srgbClr val="C75B24"/>
    <a:srgbClr val="DDD425"/>
    <a:srgbClr val="CDA800"/>
    <a:srgbClr val="9D0467"/>
    <a:srgbClr val="06091F"/>
    <a:srgbClr val="FF9447"/>
    <a:srgbClr val="F15C48"/>
    <a:srgbClr val="E6E068"/>
    <a:srgbClr val="E80A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D9ABB2-5DDC-4BD8-A8BE-C628EBB1D90D}" v="86" dt="2025-02-06T15:25:21.052"/>
    <p1510:client id="{B81E1944-E5F9-4262-89E3-BB5AAA441A78}" v="4" dt="2025-02-05T21:31:50.9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66" autoAdjust="0"/>
    <p:restoredTop sz="93138" autoAdjust="0"/>
  </p:normalViewPr>
  <p:slideViewPr>
    <p:cSldViewPr snapToGrid="0" showGuides="1">
      <p:cViewPr varScale="1">
        <p:scale>
          <a:sx n="89" d="100"/>
          <a:sy n="89" d="100"/>
        </p:scale>
        <p:origin x="547" y="82"/>
      </p:cViewPr>
      <p:guideLst/>
    </p:cSldViewPr>
  </p:slideViewPr>
  <p:outlineViewPr>
    <p:cViewPr>
      <p:scale>
        <a:sx n="33" d="100"/>
        <a:sy n="33" d="100"/>
      </p:scale>
      <p:origin x="0" y="-1987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3156" y="2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font" Target="fonts/font1.fntdata"/><Relationship Id="rId68" Type="http://schemas.openxmlformats.org/officeDocument/2006/relationships/font" Target="fonts/font6.fntdata"/><Relationship Id="rId84" Type="http://schemas.microsoft.com/office/2015/10/relationships/revisionInfo" Target="revisionInfo.xml"/><Relationship Id="rId16" Type="http://schemas.openxmlformats.org/officeDocument/2006/relationships/slide" Target="slides/slide5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74" Type="http://schemas.openxmlformats.org/officeDocument/2006/relationships/font" Target="fonts/font12.fntdata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font" Target="fonts/font2.fntdata"/><Relationship Id="rId69" Type="http://schemas.openxmlformats.org/officeDocument/2006/relationships/font" Target="fonts/font7.fntdata"/><Relationship Id="rId77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72" Type="http://schemas.openxmlformats.org/officeDocument/2006/relationships/font" Target="fonts/font10.fntdata"/><Relationship Id="rId80" Type="http://schemas.openxmlformats.org/officeDocument/2006/relationships/viewProps" Target="viewProps.xml"/><Relationship Id="rId85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font" Target="fonts/font5.fntdata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handoutMaster" Target="handoutMasters/handoutMaster1.xml"/><Relationship Id="rId70" Type="http://schemas.openxmlformats.org/officeDocument/2006/relationships/font" Target="fonts/font8.fntdata"/><Relationship Id="rId75" Type="http://schemas.openxmlformats.org/officeDocument/2006/relationships/font" Target="fonts/font13.fntdata"/><Relationship Id="rId83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font" Target="fonts/font3.fntdata"/><Relationship Id="rId73" Type="http://schemas.openxmlformats.org/officeDocument/2006/relationships/font" Target="fonts/font11.fntdata"/><Relationship Id="rId78" Type="http://schemas.openxmlformats.org/officeDocument/2006/relationships/commentAuthors" Target="commentAuthors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76" Type="http://schemas.openxmlformats.org/officeDocument/2006/relationships/font" Target="fonts/font14.fntdata"/><Relationship Id="rId7" Type="http://schemas.openxmlformats.org/officeDocument/2006/relationships/slideMaster" Target="slideMasters/slideMaster4.xml"/><Relationship Id="rId71" Type="http://schemas.openxmlformats.org/officeDocument/2006/relationships/font" Target="fonts/font9.fntdata"/><Relationship Id="rId2" Type="http://schemas.openxmlformats.org/officeDocument/2006/relationships/customXml" Target="../customXml/item2.xml"/><Relationship Id="rId29" Type="http://schemas.openxmlformats.org/officeDocument/2006/relationships/slide" Target="slides/slide18.xml"/><Relationship Id="rId24" Type="http://schemas.openxmlformats.org/officeDocument/2006/relationships/slide" Target="slides/slide13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66" Type="http://schemas.openxmlformats.org/officeDocument/2006/relationships/font" Target="fonts/font4.fntdata"/><Relationship Id="rId61" Type="http://schemas.openxmlformats.org/officeDocument/2006/relationships/notesMaster" Target="notesMasters/notesMaster1.xml"/><Relationship Id="rId8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rell Bricker" userId="fb9a1de1-af3b-499e-b601-fe4e0e028be5" providerId="ADAL" clId="{8BD9ABB2-5DDC-4BD8-A8BE-C628EBB1D90D}"/>
    <pc:docChg chg="undo custSel addSld delSld modSld sldOrd addMainMaster delMainMaster modMainMaster">
      <pc:chgData name="Darrell Bricker" userId="fb9a1de1-af3b-499e-b601-fe4e0e028be5" providerId="ADAL" clId="{8BD9ABB2-5DDC-4BD8-A8BE-C628EBB1D90D}" dt="2025-02-06T15:42:43.184" v="655" actId="478"/>
      <pc:docMkLst>
        <pc:docMk/>
      </pc:docMkLst>
      <pc:sldChg chg="delSp mod">
        <pc:chgData name="Darrell Bricker" userId="fb9a1de1-af3b-499e-b601-fe4e0e028be5" providerId="ADAL" clId="{8BD9ABB2-5DDC-4BD8-A8BE-C628EBB1D90D}" dt="2025-02-06T15:34:24.058" v="618" actId="478"/>
        <pc:sldMkLst>
          <pc:docMk/>
          <pc:sldMk cId="82507096" sldId="266"/>
        </pc:sldMkLst>
        <pc:spChg chg="del">
          <ac:chgData name="Darrell Bricker" userId="fb9a1de1-af3b-499e-b601-fe4e0e028be5" providerId="ADAL" clId="{8BD9ABB2-5DDC-4BD8-A8BE-C628EBB1D90D}" dt="2025-02-06T15:34:20.571" v="617" actId="478"/>
          <ac:spMkLst>
            <pc:docMk/>
            <pc:sldMk cId="82507096" sldId="266"/>
            <ac:spMk id="8" creationId="{A569F841-622F-9E64-00D5-191E2F654B65}"/>
          </ac:spMkLst>
        </pc:spChg>
        <pc:picChg chg="del">
          <ac:chgData name="Darrell Bricker" userId="fb9a1de1-af3b-499e-b601-fe4e0e028be5" providerId="ADAL" clId="{8BD9ABB2-5DDC-4BD8-A8BE-C628EBB1D90D}" dt="2025-02-06T15:34:24.058" v="618" actId="478"/>
          <ac:picMkLst>
            <pc:docMk/>
            <pc:sldMk cId="82507096" sldId="266"/>
            <ac:picMk id="7" creationId="{881AD424-B15E-5744-8CAC-476B00A56753}"/>
          </ac:picMkLst>
        </pc:picChg>
      </pc:sldChg>
      <pc:sldChg chg="modSp add del mod">
        <pc:chgData name="Darrell Bricker" userId="fb9a1de1-af3b-499e-b601-fe4e0e028be5" providerId="ADAL" clId="{8BD9ABB2-5DDC-4BD8-A8BE-C628EBB1D90D}" dt="2025-02-05T22:13:21.831" v="440" actId="47"/>
        <pc:sldMkLst>
          <pc:docMk/>
          <pc:sldMk cId="3839101535" sldId="284"/>
        </pc:sldMkLst>
        <pc:spChg chg="mod">
          <ac:chgData name="Darrell Bricker" userId="fb9a1de1-af3b-499e-b601-fe4e0e028be5" providerId="ADAL" clId="{8BD9ABB2-5DDC-4BD8-A8BE-C628EBB1D90D}" dt="2025-02-05T22:13:09.221" v="439" actId="207"/>
          <ac:spMkLst>
            <pc:docMk/>
            <pc:sldMk cId="3839101535" sldId="284"/>
            <ac:spMk id="8" creationId="{64E9545D-F6E7-7047-B021-DB130AD36008}"/>
          </ac:spMkLst>
        </pc:spChg>
      </pc:sldChg>
      <pc:sldChg chg="delSp add mod">
        <pc:chgData name="Darrell Bricker" userId="fb9a1de1-af3b-499e-b601-fe4e0e028be5" providerId="ADAL" clId="{8BD9ABB2-5DDC-4BD8-A8BE-C628EBB1D90D}" dt="2025-02-06T15:40:10.095" v="640" actId="478"/>
        <pc:sldMkLst>
          <pc:docMk/>
          <pc:sldMk cId="726621305" sldId="417"/>
        </pc:sldMkLst>
        <pc:spChg chg="del">
          <ac:chgData name="Darrell Bricker" userId="fb9a1de1-af3b-499e-b601-fe4e0e028be5" providerId="ADAL" clId="{8BD9ABB2-5DDC-4BD8-A8BE-C628EBB1D90D}" dt="2025-02-06T15:40:10.095" v="640" actId="478"/>
          <ac:spMkLst>
            <pc:docMk/>
            <pc:sldMk cId="726621305" sldId="417"/>
            <ac:spMk id="6" creationId="{B353DCEC-9177-25E8-C77C-3D2999D90817}"/>
          </ac:spMkLst>
        </pc:spChg>
      </pc:sldChg>
      <pc:sldChg chg="delSp modSp add mod">
        <pc:chgData name="Darrell Bricker" userId="fb9a1de1-af3b-499e-b601-fe4e0e028be5" providerId="ADAL" clId="{8BD9ABB2-5DDC-4BD8-A8BE-C628EBB1D90D}" dt="2025-02-06T15:40:14.773" v="641" actId="478"/>
        <pc:sldMkLst>
          <pc:docMk/>
          <pc:sldMk cId="3125188206" sldId="858"/>
        </pc:sldMkLst>
        <pc:spChg chg="mod">
          <ac:chgData name="Darrell Bricker" userId="fb9a1de1-af3b-499e-b601-fe4e0e028be5" providerId="ADAL" clId="{8BD9ABB2-5DDC-4BD8-A8BE-C628EBB1D90D}" dt="2025-02-05T22:00:51.588" v="352" actId="255"/>
          <ac:spMkLst>
            <pc:docMk/>
            <pc:sldMk cId="3125188206" sldId="858"/>
            <ac:spMk id="4" creationId="{B9D7870C-9188-BA4F-9B85-B8E9C0767F0A}"/>
          </ac:spMkLst>
        </pc:spChg>
        <pc:spChg chg="del">
          <ac:chgData name="Darrell Bricker" userId="fb9a1de1-af3b-499e-b601-fe4e0e028be5" providerId="ADAL" clId="{8BD9ABB2-5DDC-4BD8-A8BE-C628EBB1D90D}" dt="2025-02-06T15:40:14.773" v="641" actId="478"/>
          <ac:spMkLst>
            <pc:docMk/>
            <pc:sldMk cId="3125188206" sldId="858"/>
            <ac:spMk id="6" creationId="{6722010B-376C-CA73-3387-AD59A96DDE15}"/>
          </ac:spMkLst>
        </pc:spChg>
      </pc:sldChg>
      <pc:sldChg chg="modSp mod">
        <pc:chgData name="Darrell Bricker" userId="fb9a1de1-af3b-499e-b601-fe4e0e028be5" providerId="ADAL" clId="{8BD9ABB2-5DDC-4BD8-A8BE-C628EBB1D90D}" dt="2025-02-06T15:30:53.227" v="595" actId="1076"/>
        <pc:sldMkLst>
          <pc:docMk/>
          <pc:sldMk cId="788032537" sldId="2280"/>
        </pc:sldMkLst>
        <pc:picChg chg="mod">
          <ac:chgData name="Darrell Bricker" userId="fb9a1de1-af3b-499e-b601-fe4e0e028be5" providerId="ADAL" clId="{8BD9ABB2-5DDC-4BD8-A8BE-C628EBB1D90D}" dt="2025-02-06T15:30:53.227" v="595" actId="1076"/>
          <ac:picMkLst>
            <pc:docMk/>
            <pc:sldMk cId="788032537" sldId="2280"/>
            <ac:picMk id="2" creationId="{72166D6C-AAD3-4CAB-B6BA-D192067777D7}"/>
          </ac:picMkLst>
        </pc:picChg>
      </pc:sldChg>
      <pc:sldChg chg="delSp add mod">
        <pc:chgData name="Darrell Bricker" userId="fb9a1de1-af3b-499e-b601-fe4e0e028be5" providerId="ADAL" clId="{8BD9ABB2-5DDC-4BD8-A8BE-C628EBB1D90D}" dt="2025-02-06T15:42:23.969" v="652" actId="478"/>
        <pc:sldMkLst>
          <pc:docMk/>
          <pc:sldMk cId="906234928" sldId="2281"/>
        </pc:sldMkLst>
        <pc:spChg chg="del">
          <ac:chgData name="Darrell Bricker" userId="fb9a1de1-af3b-499e-b601-fe4e0e028be5" providerId="ADAL" clId="{8BD9ABB2-5DDC-4BD8-A8BE-C628EBB1D90D}" dt="2025-02-06T15:42:23.969" v="652" actId="478"/>
          <ac:spMkLst>
            <pc:docMk/>
            <pc:sldMk cId="906234928" sldId="2281"/>
            <ac:spMk id="2" creationId="{F73E38AC-0747-9731-818E-2AC6868AF275}"/>
          </ac:spMkLst>
        </pc:spChg>
      </pc:sldChg>
      <pc:sldChg chg="delSp add mod">
        <pc:chgData name="Darrell Bricker" userId="fb9a1de1-af3b-499e-b601-fe4e0e028be5" providerId="ADAL" clId="{8BD9ABB2-5DDC-4BD8-A8BE-C628EBB1D90D}" dt="2025-02-06T15:37:55.428" v="633" actId="478"/>
        <pc:sldMkLst>
          <pc:docMk/>
          <pc:sldMk cId="2980632431" sldId="2285"/>
        </pc:sldMkLst>
        <pc:spChg chg="del">
          <ac:chgData name="Darrell Bricker" userId="fb9a1de1-af3b-499e-b601-fe4e0e028be5" providerId="ADAL" clId="{8BD9ABB2-5DDC-4BD8-A8BE-C628EBB1D90D}" dt="2025-02-06T15:37:51.506" v="632" actId="478"/>
          <ac:spMkLst>
            <pc:docMk/>
            <pc:sldMk cId="2980632431" sldId="2285"/>
            <ac:spMk id="2" creationId="{36089AE5-61F4-E8FC-342B-0DB1050C2762}"/>
          </ac:spMkLst>
        </pc:spChg>
        <pc:picChg chg="del">
          <ac:chgData name="Darrell Bricker" userId="fb9a1de1-af3b-499e-b601-fe4e0e028be5" providerId="ADAL" clId="{8BD9ABB2-5DDC-4BD8-A8BE-C628EBB1D90D}" dt="2025-02-06T15:37:55.428" v="633" actId="478"/>
          <ac:picMkLst>
            <pc:docMk/>
            <pc:sldMk cId="2980632431" sldId="2285"/>
            <ac:picMk id="3" creationId="{F7A9E201-FC4B-C64E-BE4C-F0F68FAB80BB}"/>
          </ac:picMkLst>
        </pc:picChg>
      </pc:sldChg>
      <pc:sldChg chg="add">
        <pc:chgData name="Darrell Bricker" userId="fb9a1de1-af3b-499e-b601-fe4e0e028be5" providerId="ADAL" clId="{8BD9ABB2-5DDC-4BD8-A8BE-C628EBB1D90D}" dt="2025-02-05T21:57:46.651" v="337"/>
        <pc:sldMkLst>
          <pc:docMk/>
          <pc:sldMk cId="3038813675" sldId="2303"/>
        </pc:sldMkLst>
      </pc:sldChg>
      <pc:sldChg chg="delSp mod">
        <pc:chgData name="Darrell Bricker" userId="fb9a1de1-af3b-499e-b601-fe4e0e028be5" providerId="ADAL" clId="{8BD9ABB2-5DDC-4BD8-A8BE-C628EBB1D90D}" dt="2025-02-06T15:42:36.186" v="654" actId="478"/>
        <pc:sldMkLst>
          <pc:docMk/>
          <pc:sldMk cId="277316175" sldId="2144446123"/>
        </pc:sldMkLst>
        <pc:picChg chg="del">
          <ac:chgData name="Darrell Bricker" userId="fb9a1de1-af3b-499e-b601-fe4e0e028be5" providerId="ADAL" clId="{8BD9ABB2-5DDC-4BD8-A8BE-C628EBB1D90D}" dt="2025-02-06T15:42:36.186" v="654" actId="478"/>
          <ac:picMkLst>
            <pc:docMk/>
            <pc:sldMk cId="277316175" sldId="2144446123"/>
            <ac:picMk id="4" creationId="{73231972-AD89-8048-C73C-7CAA74A7D8AC}"/>
          </ac:picMkLst>
        </pc:picChg>
      </pc:sldChg>
      <pc:sldChg chg="addSp delSp modSp mod">
        <pc:chgData name="Darrell Bricker" userId="fb9a1de1-af3b-499e-b601-fe4e0e028be5" providerId="ADAL" clId="{8BD9ABB2-5DDC-4BD8-A8BE-C628EBB1D90D}" dt="2025-02-06T15:30:37.367" v="593" actId="478"/>
        <pc:sldMkLst>
          <pc:docMk/>
          <pc:sldMk cId="4216841943" sldId="2144446308"/>
        </pc:sldMkLst>
        <pc:spChg chg="del">
          <ac:chgData name="Darrell Bricker" userId="fb9a1de1-af3b-499e-b601-fe4e0e028be5" providerId="ADAL" clId="{8BD9ABB2-5DDC-4BD8-A8BE-C628EBB1D90D}" dt="2025-02-05T21:36:02.348" v="18" actId="478"/>
          <ac:spMkLst>
            <pc:docMk/>
            <pc:sldMk cId="4216841943" sldId="2144446308"/>
            <ac:spMk id="2" creationId="{B9D204B7-D650-8181-B2FB-53EB53237BCC}"/>
          </ac:spMkLst>
        </pc:spChg>
        <pc:spChg chg="del">
          <ac:chgData name="Darrell Bricker" userId="fb9a1de1-af3b-499e-b601-fe4e0e028be5" providerId="ADAL" clId="{8BD9ABB2-5DDC-4BD8-A8BE-C628EBB1D90D}" dt="2025-02-06T15:19:22.433" v="482" actId="478"/>
          <ac:spMkLst>
            <pc:docMk/>
            <pc:sldMk cId="4216841943" sldId="2144446308"/>
            <ac:spMk id="5" creationId="{805C96DC-369A-1EBA-1B61-1D5E15FDDFEE}"/>
          </ac:spMkLst>
        </pc:spChg>
        <pc:picChg chg="del">
          <ac:chgData name="Darrell Bricker" userId="fb9a1de1-af3b-499e-b601-fe4e0e028be5" providerId="ADAL" clId="{8BD9ABB2-5DDC-4BD8-A8BE-C628EBB1D90D}" dt="2025-02-05T21:35:39.925" v="1" actId="478"/>
          <ac:picMkLst>
            <pc:docMk/>
            <pc:sldMk cId="4216841943" sldId="2144446308"/>
            <ac:picMk id="3" creationId="{094FA424-030E-F8A5-A557-E102225E06CD}"/>
          </ac:picMkLst>
        </pc:picChg>
        <pc:picChg chg="add mod">
          <ac:chgData name="Darrell Bricker" userId="fb9a1de1-af3b-499e-b601-fe4e0e028be5" providerId="ADAL" clId="{8BD9ABB2-5DDC-4BD8-A8BE-C628EBB1D90D}" dt="2025-02-05T21:35:58.016" v="17" actId="14100"/>
          <ac:picMkLst>
            <pc:docMk/>
            <pc:sldMk cId="4216841943" sldId="2144446308"/>
            <ac:picMk id="4" creationId="{C60C3115-F1CF-06CE-6342-D748B9AFD613}"/>
          </ac:picMkLst>
        </pc:picChg>
        <pc:picChg chg="del">
          <ac:chgData name="Darrell Bricker" userId="fb9a1de1-af3b-499e-b601-fe4e0e028be5" providerId="ADAL" clId="{8BD9ABB2-5DDC-4BD8-A8BE-C628EBB1D90D}" dt="2025-02-06T15:30:37.367" v="593" actId="478"/>
          <ac:picMkLst>
            <pc:docMk/>
            <pc:sldMk cId="4216841943" sldId="2144446308"/>
            <ac:picMk id="17" creationId="{D511BE57-AA86-95D5-DC14-C5A80DC37979}"/>
          </ac:picMkLst>
        </pc:picChg>
      </pc:sldChg>
      <pc:sldChg chg="delSp mod">
        <pc:chgData name="Darrell Bricker" userId="fb9a1de1-af3b-499e-b601-fe4e0e028be5" providerId="ADAL" clId="{8BD9ABB2-5DDC-4BD8-A8BE-C628EBB1D90D}" dt="2025-02-06T15:31:03.812" v="597" actId="478"/>
        <pc:sldMkLst>
          <pc:docMk/>
          <pc:sldMk cId="950811667" sldId="2144446321"/>
        </pc:sldMkLst>
        <pc:spChg chg="del">
          <ac:chgData name="Darrell Bricker" userId="fb9a1de1-af3b-499e-b601-fe4e0e028be5" providerId="ADAL" clId="{8BD9ABB2-5DDC-4BD8-A8BE-C628EBB1D90D}" dt="2025-02-06T15:31:03.812" v="597" actId="478"/>
          <ac:spMkLst>
            <pc:docMk/>
            <pc:sldMk cId="950811667" sldId="2144446321"/>
            <ac:spMk id="11" creationId="{767C11F5-58B4-D06B-2994-1D02F99BFF52}"/>
          </ac:spMkLst>
        </pc:spChg>
        <pc:picChg chg="del">
          <ac:chgData name="Darrell Bricker" userId="fb9a1de1-af3b-499e-b601-fe4e0e028be5" providerId="ADAL" clId="{8BD9ABB2-5DDC-4BD8-A8BE-C628EBB1D90D}" dt="2025-02-06T15:30:59.483" v="596" actId="478"/>
          <ac:picMkLst>
            <pc:docMk/>
            <pc:sldMk cId="950811667" sldId="2144446321"/>
            <ac:picMk id="12" creationId="{B3675DCD-839E-0F15-1C24-6B320099DF2F}"/>
          </ac:picMkLst>
        </pc:picChg>
      </pc:sldChg>
      <pc:sldChg chg="modSp mod modClrScheme chgLayout">
        <pc:chgData name="Darrell Bricker" userId="fb9a1de1-af3b-499e-b601-fe4e0e028be5" providerId="ADAL" clId="{8BD9ABB2-5DDC-4BD8-A8BE-C628EBB1D90D}" dt="2025-02-05T21:35:46.561" v="5"/>
        <pc:sldMkLst>
          <pc:docMk/>
          <pc:sldMk cId="1203061229" sldId="2144446327"/>
        </pc:sldMkLst>
        <pc:spChg chg="mod ord">
          <ac:chgData name="Darrell Bricker" userId="fb9a1de1-af3b-499e-b601-fe4e0e028be5" providerId="ADAL" clId="{8BD9ABB2-5DDC-4BD8-A8BE-C628EBB1D90D}" dt="2025-02-05T21:35:46.561" v="5"/>
          <ac:spMkLst>
            <pc:docMk/>
            <pc:sldMk cId="1203061229" sldId="2144446327"/>
            <ac:spMk id="2" creationId="{7CC6D951-5214-0B22-77D7-E730BB836840}"/>
          </ac:spMkLst>
        </pc:spChg>
      </pc:sldChg>
      <pc:sldChg chg="modSp mod modClrScheme chgLayout">
        <pc:chgData name="Darrell Bricker" userId="fb9a1de1-af3b-499e-b601-fe4e0e028be5" providerId="ADAL" clId="{8BD9ABB2-5DDC-4BD8-A8BE-C628EBB1D90D}" dt="2025-02-05T21:35:46.561" v="6"/>
        <pc:sldMkLst>
          <pc:docMk/>
          <pc:sldMk cId="4281961653" sldId="2144446328"/>
        </pc:sldMkLst>
        <pc:spChg chg="mod ord">
          <ac:chgData name="Darrell Bricker" userId="fb9a1de1-af3b-499e-b601-fe4e0e028be5" providerId="ADAL" clId="{8BD9ABB2-5DDC-4BD8-A8BE-C628EBB1D90D}" dt="2025-02-05T21:35:46.561" v="6"/>
          <ac:spMkLst>
            <pc:docMk/>
            <pc:sldMk cId="4281961653" sldId="2144446328"/>
            <ac:spMk id="2" creationId="{C1BCDDA3-39D1-60D3-97C8-F284B02F77D6}"/>
          </ac:spMkLst>
        </pc:spChg>
      </pc:sldChg>
      <pc:sldChg chg="modSp mod modClrScheme chgLayout">
        <pc:chgData name="Darrell Bricker" userId="fb9a1de1-af3b-499e-b601-fe4e0e028be5" providerId="ADAL" clId="{8BD9ABB2-5DDC-4BD8-A8BE-C628EBB1D90D}" dt="2025-02-05T21:35:46.561" v="7"/>
        <pc:sldMkLst>
          <pc:docMk/>
          <pc:sldMk cId="2157388069" sldId="2144446329"/>
        </pc:sldMkLst>
        <pc:spChg chg="mod ord">
          <ac:chgData name="Darrell Bricker" userId="fb9a1de1-af3b-499e-b601-fe4e0e028be5" providerId="ADAL" clId="{8BD9ABB2-5DDC-4BD8-A8BE-C628EBB1D90D}" dt="2025-02-05T21:35:46.561" v="7"/>
          <ac:spMkLst>
            <pc:docMk/>
            <pc:sldMk cId="2157388069" sldId="2144446329"/>
            <ac:spMk id="2" creationId="{4B0C1DE7-A612-2D50-DCB8-116AC56585ED}"/>
          </ac:spMkLst>
        </pc:spChg>
      </pc:sldChg>
      <pc:sldChg chg="modSp mod modClrScheme chgLayout">
        <pc:chgData name="Darrell Bricker" userId="fb9a1de1-af3b-499e-b601-fe4e0e028be5" providerId="ADAL" clId="{8BD9ABB2-5DDC-4BD8-A8BE-C628EBB1D90D}" dt="2025-02-05T21:35:46.561" v="8"/>
        <pc:sldMkLst>
          <pc:docMk/>
          <pc:sldMk cId="1805337473" sldId="2144446330"/>
        </pc:sldMkLst>
        <pc:spChg chg="mod ord">
          <ac:chgData name="Darrell Bricker" userId="fb9a1de1-af3b-499e-b601-fe4e0e028be5" providerId="ADAL" clId="{8BD9ABB2-5DDC-4BD8-A8BE-C628EBB1D90D}" dt="2025-02-05T21:35:46.561" v="8"/>
          <ac:spMkLst>
            <pc:docMk/>
            <pc:sldMk cId="1805337473" sldId="2144446330"/>
            <ac:spMk id="2" creationId="{8559654F-C8E0-89EF-C7F9-36A84724EB73}"/>
          </ac:spMkLst>
        </pc:spChg>
      </pc:sldChg>
      <pc:sldChg chg="modSp add del mod">
        <pc:chgData name="Darrell Bricker" userId="fb9a1de1-af3b-499e-b601-fe4e0e028be5" providerId="ADAL" clId="{8BD9ABB2-5DDC-4BD8-A8BE-C628EBB1D90D}" dt="2025-02-05T22:08:25.056" v="433" actId="255"/>
        <pc:sldMkLst>
          <pc:docMk/>
          <pc:sldMk cId="447887161" sldId="2144446336"/>
        </pc:sldMkLst>
        <pc:spChg chg="mod">
          <ac:chgData name="Darrell Bricker" userId="fb9a1de1-af3b-499e-b601-fe4e0e028be5" providerId="ADAL" clId="{8BD9ABB2-5DDC-4BD8-A8BE-C628EBB1D90D}" dt="2025-02-05T22:08:25.056" v="433" actId="255"/>
          <ac:spMkLst>
            <pc:docMk/>
            <pc:sldMk cId="447887161" sldId="2144446336"/>
            <ac:spMk id="3" creationId="{4ED72910-2DC2-587A-4AFC-180235ED6A00}"/>
          </ac:spMkLst>
        </pc:spChg>
      </pc:sldChg>
      <pc:sldChg chg="modSp mod modClrScheme chgLayout">
        <pc:chgData name="Darrell Bricker" userId="fb9a1de1-af3b-499e-b601-fe4e0e028be5" providerId="ADAL" clId="{8BD9ABB2-5DDC-4BD8-A8BE-C628EBB1D90D}" dt="2025-02-05T21:35:46.561" v="9"/>
        <pc:sldMkLst>
          <pc:docMk/>
          <pc:sldMk cId="247068117" sldId="2144446343"/>
        </pc:sldMkLst>
        <pc:spChg chg="mod ord">
          <ac:chgData name="Darrell Bricker" userId="fb9a1de1-af3b-499e-b601-fe4e0e028be5" providerId="ADAL" clId="{8BD9ABB2-5DDC-4BD8-A8BE-C628EBB1D90D}" dt="2025-02-05T21:35:46.561" v="9"/>
          <ac:spMkLst>
            <pc:docMk/>
            <pc:sldMk cId="247068117" sldId="2144446343"/>
            <ac:spMk id="2" creationId="{29AFA420-7167-F6ED-D4DA-C84D41C5874B}"/>
          </ac:spMkLst>
        </pc:spChg>
      </pc:sldChg>
      <pc:sldChg chg="modSp mod">
        <pc:chgData name="Darrell Bricker" userId="fb9a1de1-af3b-499e-b601-fe4e0e028be5" providerId="ADAL" clId="{8BD9ABB2-5DDC-4BD8-A8BE-C628EBB1D90D}" dt="2025-02-05T22:10:51.384" v="438" actId="27918"/>
        <pc:sldMkLst>
          <pc:docMk/>
          <pc:sldMk cId="1586250474" sldId="2144446347"/>
        </pc:sldMkLst>
        <pc:graphicFrameChg chg="mod">
          <ac:chgData name="Darrell Bricker" userId="fb9a1de1-af3b-499e-b601-fe4e0e028be5" providerId="ADAL" clId="{8BD9ABB2-5DDC-4BD8-A8BE-C628EBB1D90D}" dt="2025-02-05T22:10:26.496" v="436" actId="6549"/>
          <ac:graphicFrameMkLst>
            <pc:docMk/>
            <pc:sldMk cId="1586250474" sldId="2144446347"/>
            <ac:graphicFrameMk id="13" creationId="{64F376E9-0B50-92FB-0860-85AE3BB8457B}"/>
          </ac:graphicFrameMkLst>
        </pc:graphicFrameChg>
      </pc:sldChg>
      <pc:sldChg chg="modSp mod modClrScheme chgLayout">
        <pc:chgData name="Darrell Bricker" userId="fb9a1de1-af3b-499e-b601-fe4e0e028be5" providerId="ADAL" clId="{8BD9ABB2-5DDC-4BD8-A8BE-C628EBB1D90D}" dt="2025-02-06T15:24:04.504" v="517" actId="6549"/>
        <pc:sldMkLst>
          <pc:docMk/>
          <pc:sldMk cId="222905422" sldId="2144446348"/>
        </pc:sldMkLst>
        <pc:spChg chg="mod ord">
          <ac:chgData name="Darrell Bricker" userId="fb9a1de1-af3b-499e-b601-fe4e0e028be5" providerId="ADAL" clId="{8BD9ABB2-5DDC-4BD8-A8BE-C628EBB1D90D}" dt="2025-02-05T21:35:46.561" v="10"/>
          <ac:spMkLst>
            <pc:docMk/>
            <pc:sldMk cId="222905422" sldId="2144446348"/>
            <ac:spMk id="2" creationId="{D2C0B3BF-776A-9CC2-E36A-FE66F6C6A717}"/>
          </ac:spMkLst>
        </pc:spChg>
        <pc:graphicFrameChg chg="mod">
          <ac:chgData name="Darrell Bricker" userId="fb9a1de1-af3b-499e-b601-fe4e0e028be5" providerId="ADAL" clId="{8BD9ABB2-5DDC-4BD8-A8BE-C628EBB1D90D}" dt="2025-02-06T15:24:04.504" v="517" actId="6549"/>
          <ac:graphicFrameMkLst>
            <pc:docMk/>
            <pc:sldMk cId="222905422" sldId="2144446348"/>
            <ac:graphicFrameMk id="3" creationId="{B7F4711B-BBE9-BCFD-1485-6773AD76A4A9}"/>
          </ac:graphicFrameMkLst>
        </pc:graphicFrameChg>
      </pc:sldChg>
      <pc:sldChg chg="add">
        <pc:chgData name="Darrell Bricker" userId="fb9a1de1-af3b-499e-b601-fe4e0e028be5" providerId="ADAL" clId="{8BD9ABB2-5DDC-4BD8-A8BE-C628EBB1D90D}" dt="2025-02-06T15:25:21.052" v="584"/>
        <pc:sldMkLst>
          <pc:docMk/>
          <pc:sldMk cId="1539810533" sldId="2144446351"/>
        </pc:sldMkLst>
      </pc:sldChg>
      <pc:sldChg chg="modSp mod modClrScheme chgLayout">
        <pc:chgData name="Darrell Bricker" userId="fb9a1de1-af3b-499e-b601-fe4e0e028be5" providerId="ADAL" clId="{8BD9ABB2-5DDC-4BD8-A8BE-C628EBB1D90D}" dt="2025-02-05T21:35:46.561" v="12"/>
        <pc:sldMkLst>
          <pc:docMk/>
          <pc:sldMk cId="3165397761" sldId="2144446352"/>
        </pc:sldMkLst>
        <pc:spChg chg="mod ord">
          <ac:chgData name="Darrell Bricker" userId="fb9a1de1-af3b-499e-b601-fe4e0e028be5" providerId="ADAL" clId="{8BD9ABB2-5DDC-4BD8-A8BE-C628EBB1D90D}" dt="2025-02-05T21:35:46.561" v="12"/>
          <ac:spMkLst>
            <pc:docMk/>
            <pc:sldMk cId="3165397761" sldId="2144446352"/>
            <ac:spMk id="2" creationId="{938F5C0D-0C38-853D-0215-36150FB545A8}"/>
          </ac:spMkLst>
        </pc:spChg>
      </pc:sldChg>
      <pc:sldChg chg="modSp mod modClrScheme chgLayout">
        <pc:chgData name="Darrell Bricker" userId="fb9a1de1-af3b-499e-b601-fe4e0e028be5" providerId="ADAL" clId="{8BD9ABB2-5DDC-4BD8-A8BE-C628EBB1D90D}" dt="2025-02-05T21:35:46.561" v="13"/>
        <pc:sldMkLst>
          <pc:docMk/>
          <pc:sldMk cId="3567953144" sldId="2144446353"/>
        </pc:sldMkLst>
        <pc:spChg chg="mod ord">
          <ac:chgData name="Darrell Bricker" userId="fb9a1de1-af3b-499e-b601-fe4e0e028be5" providerId="ADAL" clId="{8BD9ABB2-5DDC-4BD8-A8BE-C628EBB1D90D}" dt="2025-02-05T21:35:46.561" v="13"/>
          <ac:spMkLst>
            <pc:docMk/>
            <pc:sldMk cId="3567953144" sldId="2144446353"/>
            <ac:spMk id="2" creationId="{8C673184-A57D-E538-648A-59C7273CB485}"/>
          </ac:spMkLst>
        </pc:spChg>
      </pc:sldChg>
      <pc:sldChg chg="modSp mod modClrScheme chgLayout">
        <pc:chgData name="Darrell Bricker" userId="fb9a1de1-af3b-499e-b601-fe4e0e028be5" providerId="ADAL" clId="{8BD9ABB2-5DDC-4BD8-A8BE-C628EBB1D90D}" dt="2025-02-05T21:35:46.561" v="14"/>
        <pc:sldMkLst>
          <pc:docMk/>
          <pc:sldMk cId="1986408834" sldId="2144446354"/>
        </pc:sldMkLst>
        <pc:spChg chg="mod ord">
          <ac:chgData name="Darrell Bricker" userId="fb9a1de1-af3b-499e-b601-fe4e0e028be5" providerId="ADAL" clId="{8BD9ABB2-5DDC-4BD8-A8BE-C628EBB1D90D}" dt="2025-02-05T21:35:46.561" v="14"/>
          <ac:spMkLst>
            <pc:docMk/>
            <pc:sldMk cId="1986408834" sldId="2144446354"/>
            <ac:spMk id="2" creationId="{34AB8585-ADF4-0101-9F65-FAB8B253807D}"/>
          </ac:spMkLst>
        </pc:spChg>
      </pc:sldChg>
      <pc:sldChg chg="modSp add mod">
        <pc:chgData name="Darrell Bricker" userId="fb9a1de1-af3b-499e-b601-fe4e0e028be5" providerId="ADAL" clId="{8BD9ABB2-5DDC-4BD8-A8BE-C628EBB1D90D}" dt="2025-02-05T21:58:25.825" v="347" actId="20577"/>
        <pc:sldMkLst>
          <pc:docMk/>
          <pc:sldMk cId="1162229617" sldId="2147474268"/>
        </pc:sldMkLst>
        <pc:spChg chg="mod">
          <ac:chgData name="Darrell Bricker" userId="fb9a1de1-af3b-499e-b601-fe4e0e028be5" providerId="ADAL" clId="{8BD9ABB2-5DDC-4BD8-A8BE-C628EBB1D90D}" dt="2025-02-05T21:58:25.825" v="347" actId="20577"/>
          <ac:spMkLst>
            <pc:docMk/>
            <pc:sldMk cId="1162229617" sldId="2147474268"/>
            <ac:spMk id="9" creationId="{9232F4DC-1C94-1227-E1C4-363B7C895D0B}"/>
          </ac:spMkLst>
        </pc:spChg>
      </pc:sldChg>
      <pc:sldChg chg="delSp modSp mod">
        <pc:chgData name="Darrell Bricker" userId="fb9a1de1-af3b-499e-b601-fe4e0e028be5" providerId="ADAL" clId="{8BD9ABB2-5DDC-4BD8-A8BE-C628EBB1D90D}" dt="2025-02-06T15:31:33.753" v="600" actId="1076"/>
        <pc:sldMkLst>
          <pc:docMk/>
          <pc:sldMk cId="1660185926" sldId="2147474280"/>
        </pc:sldMkLst>
        <pc:spChg chg="del">
          <ac:chgData name="Darrell Bricker" userId="fb9a1de1-af3b-499e-b601-fe4e0e028be5" providerId="ADAL" clId="{8BD9ABB2-5DDC-4BD8-A8BE-C628EBB1D90D}" dt="2025-02-06T15:31:11.965" v="598" actId="478"/>
          <ac:spMkLst>
            <pc:docMk/>
            <pc:sldMk cId="1660185926" sldId="2147474280"/>
            <ac:spMk id="3" creationId="{B565CDB5-FBB8-EAEA-59ED-02E7F03DE918}"/>
          </ac:spMkLst>
        </pc:spChg>
        <pc:picChg chg="mod">
          <ac:chgData name="Darrell Bricker" userId="fb9a1de1-af3b-499e-b601-fe4e0e028be5" providerId="ADAL" clId="{8BD9ABB2-5DDC-4BD8-A8BE-C628EBB1D90D}" dt="2025-02-06T15:31:33.753" v="600" actId="1076"/>
          <ac:picMkLst>
            <pc:docMk/>
            <pc:sldMk cId="1660185926" sldId="2147474280"/>
            <ac:picMk id="6" creationId="{67677583-FC74-4630-9F2A-568B21EF9B14}"/>
          </ac:picMkLst>
        </pc:picChg>
      </pc:sldChg>
      <pc:sldChg chg="del">
        <pc:chgData name="Darrell Bricker" userId="fb9a1de1-af3b-499e-b601-fe4e0e028be5" providerId="ADAL" clId="{8BD9ABB2-5DDC-4BD8-A8BE-C628EBB1D90D}" dt="2025-02-06T15:21:09.106" v="512" actId="47"/>
        <pc:sldMkLst>
          <pc:docMk/>
          <pc:sldMk cId="2605319904" sldId="2147474287"/>
        </pc:sldMkLst>
      </pc:sldChg>
      <pc:sldChg chg="del">
        <pc:chgData name="Darrell Bricker" userId="fb9a1de1-af3b-499e-b601-fe4e0e028be5" providerId="ADAL" clId="{8BD9ABB2-5DDC-4BD8-A8BE-C628EBB1D90D}" dt="2025-02-05T21:57:51.202" v="338" actId="47"/>
        <pc:sldMkLst>
          <pc:docMk/>
          <pc:sldMk cId="3942598805" sldId="2147474289"/>
        </pc:sldMkLst>
      </pc:sldChg>
      <pc:sldChg chg="modSp del mod">
        <pc:chgData name="Darrell Bricker" userId="fb9a1de1-af3b-499e-b601-fe4e0e028be5" providerId="ADAL" clId="{8BD9ABB2-5DDC-4BD8-A8BE-C628EBB1D90D}" dt="2025-02-06T15:26:17.635" v="586" actId="47"/>
        <pc:sldMkLst>
          <pc:docMk/>
          <pc:sldMk cId="3778902147" sldId="2147474295"/>
        </pc:sldMkLst>
        <pc:spChg chg="mod">
          <ac:chgData name="Darrell Bricker" userId="fb9a1de1-af3b-499e-b601-fe4e0e028be5" providerId="ADAL" clId="{8BD9ABB2-5DDC-4BD8-A8BE-C628EBB1D90D}" dt="2025-02-05T22:04:27.445" v="366" actId="6549"/>
          <ac:spMkLst>
            <pc:docMk/>
            <pc:sldMk cId="3778902147" sldId="2147474295"/>
            <ac:spMk id="8" creationId="{64E9545D-F6E7-7047-B021-DB130AD36008}"/>
          </ac:spMkLst>
        </pc:spChg>
      </pc:sldChg>
      <pc:sldChg chg="modSp mod">
        <pc:chgData name="Darrell Bricker" userId="fb9a1de1-af3b-499e-b601-fe4e0e028be5" providerId="ADAL" clId="{8BD9ABB2-5DDC-4BD8-A8BE-C628EBB1D90D}" dt="2025-02-06T15:27:25.855" v="590" actId="6549"/>
        <pc:sldMkLst>
          <pc:docMk/>
          <pc:sldMk cId="2032806833" sldId="2147474296"/>
        </pc:sldMkLst>
        <pc:spChg chg="mod">
          <ac:chgData name="Darrell Bricker" userId="fb9a1de1-af3b-499e-b601-fe4e0e028be5" providerId="ADAL" clId="{8BD9ABB2-5DDC-4BD8-A8BE-C628EBB1D90D}" dt="2025-02-06T15:27:25.855" v="590" actId="6549"/>
          <ac:spMkLst>
            <pc:docMk/>
            <pc:sldMk cId="2032806833" sldId="2147474296"/>
            <ac:spMk id="15" creationId="{952907D1-1A2C-174E-93F9-7FCC90B4B57E}"/>
          </ac:spMkLst>
        </pc:spChg>
      </pc:sldChg>
      <pc:sldChg chg="del">
        <pc:chgData name="Darrell Bricker" userId="fb9a1de1-af3b-499e-b601-fe4e0e028be5" providerId="ADAL" clId="{8BD9ABB2-5DDC-4BD8-A8BE-C628EBB1D90D}" dt="2025-02-05T21:57:52.423" v="339" actId="47"/>
        <pc:sldMkLst>
          <pc:docMk/>
          <pc:sldMk cId="4264469854" sldId="2147474305"/>
        </pc:sldMkLst>
      </pc:sldChg>
      <pc:sldChg chg="del">
        <pc:chgData name="Darrell Bricker" userId="fb9a1de1-af3b-499e-b601-fe4e0e028be5" providerId="ADAL" clId="{8BD9ABB2-5DDC-4BD8-A8BE-C628EBB1D90D}" dt="2025-02-05T21:57:53.812" v="340" actId="47"/>
        <pc:sldMkLst>
          <pc:docMk/>
          <pc:sldMk cId="4121346065" sldId="2147474307"/>
        </pc:sldMkLst>
      </pc:sldChg>
      <pc:sldChg chg="delSp mod">
        <pc:chgData name="Darrell Bricker" userId="fb9a1de1-af3b-499e-b601-fe4e0e028be5" providerId="ADAL" clId="{8BD9ABB2-5DDC-4BD8-A8BE-C628EBB1D90D}" dt="2025-02-06T15:34:30.737" v="619" actId="478"/>
        <pc:sldMkLst>
          <pc:docMk/>
          <pc:sldMk cId="1931133870" sldId="2147474309"/>
        </pc:sldMkLst>
        <pc:picChg chg="del">
          <ac:chgData name="Darrell Bricker" userId="fb9a1de1-af3b-499e-b601-fe4e0e028be5" providerId="ADAL" clId="{8BD9ABB2-5DDC-4BD8-A8BE-C628EBB1D90D}" dt="2025-02-06T15:34:30.737" v="619" actId="478"/>
          <ac:picMkLst>
            <pc:docMk/>
            <pc:sldMk cId="1931133870" sldId="2147474309"/>
            <ac:picMk id="3" creationId="{F7A9E201-FC4B-C64E-BE4C-F0F68FAB80BB}"/>
          </ac:picMkLst>
        </pc:picChg>
      </pc:sldChg>
      <pc:sldChg chg="modSp del mod setBg modClrScheme chgLayout">
        <pc:chgData name="Darrell Bricker" userId="fb9a1de1-af3b-499e-b601-fe4e0e028be5" providerId="ADAL" clId="{8BD9ABB2-5DDC-4BD8-A8BE-C628EBB1D90D}" dt="2025-02-06T15:25:23.398" v="585" actId="47"/>
        <pc:sldMkLst>
          <pc:docMk/>
          <pc:sldMk cId="1191454393" sldId="2147474313"/>
        </pc:sldMkLst>
        <pc:spChg chg="mod ord">
          <ac:chgData name="Darrell Bricker" userId="fb9a1de1-af3b-499e-b601-fe4e0e028be5" providerId="ADAL" clId="{8BD9ABB2-5DDC-4BD8-A8BE-C628EBB1D90D}" dt="2025-02-05T21:35:46.561" v="11"/>
          <ac:spMkLst>
            <pc:docMk/>
            <pc:sldMk cId="1191454393" sldId="2147474313"/>
            <ac:spMk id="3" creationId="{52150676-9EB9-0F3E-EC97-03E7B5563351}"/>
          </ac:spMkLst>
        </pc:spChg>
        <pc:spChg chg="mod ord">
          <ac:chgData name="Darrell Bricker" userId="fb9a1de1-af3b-499e-b601-fe4e0e028be5" providerId="ADAL" clId="{8BD9ABB2-5DDC-4BD8-A8BE-C628EBB1D90D}" dt="2025-02-05T21:35:46.561" v="11"/>
          <ac:spMkLst>
            <pc:docMk/>
            <pc:sldMk cId="1191454393" sldId="2147474313"/>
            <ac:spMk id="5" creationId="{531595FE-C39E-A0D0-57D8-870BE0BF7270}"/>
          </ac:spMkLst>
        </pc:spChg>
        <pc:picChg chg="mod ord">
          <ac:chgData name="Darrell Bricker" userId="fb9a1de1-af3b-499e-b601-fe4e0e028be5" providerId="ADAL" clId="{8BD9ABB2-5DDC-4BD8-A8BE-C628EBB1D90D}" dt="2025-02-05T21:35:46.561" v="11"/>
          <ac:picMkLst>
            <pc:docMk/>
            <pc:sldMk cId="1191454393" sldId="2147474313"/>
            <ac:picMk id="13" creationId="{5EF562BA-817D-0DB1-6F7B-C75E1575ED43}"/>
          </ac:picMkLst>
        </pc:picChg>
      </pc:sldChg>
      <pc:sldChg chg="addSp delSp modSp new mod modClrScheme chgLayout">
        <pc:chgData name="Darrell Bricker" userId="fb9a1de1-af3b-499e-b601-fe4e0e028be5" providerId="ADAL" clId="{8BD9ABB2-5DDC-4BD8-A8BE-C628EBB1D90D}" dt="2025-02-06T15:27:02.548" v="589" actId="255"/>
        <pc:sldMkLst>
          <pc:docMk/>
          <pc:sldMk cId="2888184956" sldId="2147474314"/>
        </pc:sldMkLst>
        <pc:spChg chg="del mod ord">
          <ac:chgData name="Darrell Bricker" userId="fb9a1de1-af3b-499e-b601-fe4e0e028be5" providerId="ADAL" clId="{8BD9ABB2-5DDC-4BD8-A8BE-C628EBB1D90D}" dt="2025-02-05T21:40:41.008" v="20" actId="700"/>
          <ac:spMkLst>
            <pc:docMk/>
            <pc:sldMk cId="2888184956" sldId="2147474314"/>
            <ac:spMk id="2" creationId="{A90F7B8D-A3B2-AD0A-54F1-4043CE5E96A0}"/>
          </ac:spMkLst>
        </pc:spChg>
        <pc:spChg chg="mod ord">
          <ac:chgData name="Darrell Bricker" userId="fb9a1de1-af3b-499e-b601-fe4e0e028be5" providerId="ADAL" clId="{8BD9ABB2-5DDC-4BD8-A8BE-C628EBB1D90D}" dt="2025-02-05T22:15:41.370" v="454" actId="26606"/>
          <ac:spMkLst>
            <pc:docMk/>
            <pc:sldMk cId="2888184956" sldId="2147474314"/>
            <ac:spMk id="3" creationId="{87CC16DC-FCB8-D282-6E01-93611CA32D69}"/>
          </ac:spMkLst>
        </pc:spChg>
        <pc:spChg chg="del mod ord">
          <ac:chgData name="Darrell Bricker" userId="fb9a1de1-af3b-499e-b601-fe4e0e028be5" providerId="ADAL" clId="{8BD9ABB2-5DDC-4BD8-A8BE-C628EBB1D90D}" dt="2025-02-05T21:40:41.008" v="20" actId="700"/>
          <ac:spMkLst>
            <pc:docMk/>
            <pc:sldMk cId="2888184956" sldId="2147474314"/>
            <ac:spMk id="4" creationId="{37F6A532-BC25-D559-FBC3-7E78F1AF9FCD}"/>
          </ac:spMkLst>
        </pc:spChg>
        <pc:spChg chg="add mod ord">
          <ac:chgData name="Darrell Bricker" userId="fb9a1de1-af3b-499e-b601-fe4e0e028be5" providerId="ADAL" clId="{8BD9ABB2-5DDC-4BD8-A8BE-C628EBB1D90D}" dt="2025-02-05T22:16:15.146" v="465" actId="5793"/>
          <ac:spMkLst>
            <pc:docMk/>
            <pc:sldMk cId="2888184956" sldId="2147474314"/>
            <ac:spMk id="5" creationId="{6A7C3CB6-5123-685C-1DED-2F0A0B9929C8}"/>
          </ac:spMkLst>
        </pc:spChg>
        <pc:spChg chg="add del mod ord">
          <ac:chgData name="Darrell Bricker" userId="fb9a1de1-af3b-499e-b601-fe4e0e028be5" providerId="ADAL" clId="{8BD9ABB2-5DDC-4BD8-A8BE-C628EBB1D90D}" dt="2025-02-05T21:42:45.337" v="104" actId="478"/>
          <ac:spMkLst>
            <pc:docMk/>
            <pc:sldMk cId="2888184956" sldId="2147474314"/>
            <ac:spMk id="6" creationId="{DCE13A31-4A5E-ABA6-6444-576001C03F83}"/>
          </ac:spMkLst>
        </pc:spChg>
        <pc:spChg chg="add del mod ord">
          <ac:chgData name="Darrell Bricker" userId="fb9a1de1-af3b-499e-b601-fe4e0e028be5" providerId="ADAL" clId="{8BD9ABB2-5DDC-4BD8-A8BE-C628EBB1D90D}" dt="2025-02-05T21:41:19.085" v="94" actId="478"/>
          <ac:spMkLst>
            <pc:docMk/>
            <pc:sldMk cId="2888184956" sldId="2147474314"/>
            <ac:spMk id="7" creationId="{5427F14D-D5EC-A92A-C0F7-296D2A8799F4}"/>
          </ac:spMkLst>
        </pc:spChg>
        <pc:spChg chg="add del mod ord">
          <ac:chgData name="Darrell Bricker" userId="fb9a1de1-af3b-499e-b601-fe4e0e028be5" providerId="ADAL" clId="{8BD9ABB2-5DDC-4BD8-A8BE-C628EBB1D90D}" dt="2025-02-05T21:47:22.469" v="133" actId="478"/>
          <ac:spMkLst>
            <pc:docMk/>
            <pc:sldMk cId="2888184956" sldId="2147474314"/>
            <ac:spMk id="8" creationId="{3F31220F-C410-F630-AD42-93F2E54620FB}"/>
          </ac:spMkLst>
        </pc:spChg>
        <pc:spChg chg="add mod">
          <ac:chgData name="Darrell Bricker" userId="fb9a1de1-af3b-499e-b601-fe4e0e028be5" providerId="ADAL" clId="{8BD9ABB2-5DDC-4BD8-A8BE-C628EBB1D90D}" dt="2025-02-06T15:27:02.548" v="589" actId="255"/>
          <ac:spMkLst>
            <pc:docMk/>
            <pc:sldMk cId="2888184956" sldId="2147474314"/>
            <ac:spMk id="10" creationId="{825152E9-7648-8AAF-35D8-CC38A6B46A9F}"/>
          </ac:spMkLst>
        </pc:spChg>
        <pc:spChg chg="add del mod">
          <ac:chgData name="Darrell Bricker" userId="fb9a1de1-af3b-499e-b601-fe4e0e028be5" providerId="ADAL" clId="{8BD9ABB2-5DDC-4BD8-A8BE-C628EBB1D90D}" dt="2025-02-05T22:15:30.408" v="451" actId="478"/>
          <ac:spMkLst>
            <pc:docMk/>
            <pc:sldMk cId="2888184956" sldId="2147474314"/>
            <ac:spMk id="16" creationId="{BAEE4481-6AAD-1091-A15F-1081E73355E4}"/>
          </ac:spMkLst>
        </pc:spChg>
        <pc:spChg chg="add del mod">
          <ac:chgData name="Darrell Bricker" userId="fb9a1de1-af3b-499e-b601-fe4e0e028be5" providerId="ADAL" clId="{8BD9ABB2-5DDC-4BD8-A8BE-C628EBB1D90D}" dt="2025-02-05T22:15:41.375" v="455" actId="26606"/>
          <ac:spMkLst>
            <pc:docMk/>
            <pc:sldMk cId="2888184956" sldId="2147474314"/>
            <ac:spMk id="18" creationId="{FEF571AB-83F3-5BCF-6425-35964642D87C}"/>
          </ac:spMkLst>
        </pc:spChg>
        <pc:spChg chg="add del mod">
          <ac:chgData name="Darrell Bricker" userId="fb9a1de1-af3b-499e-b601-fe4e0e028be5" providerId="ADAL" clId="{8BD9ABB2-5DDC-4BD8-A8BE-C628EBB1D90D}" dt="2025-02-05T22:15:41.370" v="454" actId="26606"/>
          <ac:spMkLst>
            <pc:docMk/>
            <pc:sldMk cId="2888184956" sldId="2147474314"/>
            <ac:spMk id="23" creationId="{38668490-D0D2-1724-B9C1-68962AE716BB}"/>
          </ac:spMkLst>
        </pc:spChg>
        <pc:spChg chg="add del mod">
          <ac:chgData name="Darrell Bricker" userId="fb9a1de1-af3b-499e-b601-fe4e0e028be5" providerId="ADAL" clId="{8BD9ABB2-5DDC-4BD8-A8BE-C628EBB1D90D}" dt="2025-02-05T22:15:41.370" v="454" actId="26606"/>
          <ac:spMkLst>
            <pc:docMk/>
            <pc:sldMk cId="2888184956" sldId="2147474314"/>
            <ac:spMk id="25" creationId="{C782D5F5-3CEF-0E0E-B904-D8B6A4ED3C6A}"/>
          </ac:spMkLst>
        </pc:spChg>
        <pc:spChg chg="add del">
          <ac:chgData name="Darrell Bricker" userId="fb9a1de1-af3b-499e-b601-fe4e0e028be5" providerId="ADAL" clId="{8BD9ABB2-5DDC-4BD8-A8BE-C628EBB1D90D}" dt="2025-02-05T22:15:46.460" v="456" actId="478"/>
          <ac:spMkLst>
            <pc:docMk/>
            <pc:sldMk cId="2888184956" sldId="2147474314"/>
            <ac:spMk id="27" creationId="{92C0910D-4CF6-93E9-A877-75A7AB6F2A69}"/>
          </ac:spMkLst>
        </pc:spChg>
        <pc:spChg chg="add">
          <ac:chgData name="Darrell Bricker" userId="fb9a1de1-af3b-499e-b601-fe4e0e028be5" providerId="ADAL" clId="{8BD9ABB2-5DDC-4BD8-A8BE-C628EBB1D90D}" dt="2025-02-05T22:15:41.375" v="455" actId="26606"/>
          <ac:spMkLst>
            <pc:docMk/>
            <pc:sldMk cId="2888184956" sldId="2147474314"/>
            <ac:spMk id="28" creationId="{77632F55-2582-6E5E-15A9-31C0F5996287}"/>
          </ac:spMkLst>
        </pc:spChg>
        <pc:picChg chg="add del mod">
          <ac:chgData name="Darrell Bricker" userId="fb9a1de1-af3b-499e-b601-fe4e0e028be5" providerId="ADAL" clId="{8BD9ABB2-5DDC-4BD8-A8BE-C628EBB1D90D}" dt="2025-02-06T15:26:46.727" v="587" actId="478"/>
          <ac:picMkLst>
            <pc:docMk/>
            <pc:sldMk cId="2888184956" sldId="2147474314"/>
            <ac:picMk id="11" creationId="{B327192B-5CF7-7D60-239A-799055363841}"/>
          </ac:picMkLst>
        </pc:picChg>
      </pc:sldChg>
      <pc:sldChg chg="delSp modSp new mod">
        <pc:chgData name="Darrell Bricker" userId="fb9a1de1-af3b-499e-b601-fe4e0e028be5" providerId="ADAL" clId="{8BD9ABB2-5DDC-4BD8-A8BE-C628EBB1D90D}" dt="2025-02-06T15:42:43.184" v="655" actId="478"/>
        <pc:sldMkLst>
          <pc:docMk/>
          <pc:sldMk cId="1903409771" sldId="2147474315"/>
        </pc:sldMkLst>
        <pc:spChg chg="mod">
          <ac:chgData name="Darrell Bricker" userId="fb9a1de1-af3b-499e-b601-fe4e0e028be5" providerId="ADAL" clId="{8BD9ABB2-5DDC-4BD8-A8BE-C628EBB1D90D}" dt="2025-02-05T22:17:45.220" v="481" actId="114"/>
          <ac:spMkLst>
            <pc:docMk/>
            <pc:sldMk cId="1903409771" sldId="2147474315"/>
            <ac:spMk id="2" creationId="{EBB4F173-0F48-A837-546D-CCDCE8D1B9DA}"/>
          </ac:spMkLst>
        </pc:spChg>
        <pc:spChg chg="del">
          <ac:chgData name="Darrell Bricker" userId="fb9a1de1-af3b-499e-b601-fe4e0e028be5" providerId="ADAL" clId="{8BD9ABB2-5DDC-4BD8-A8BE-C628EBB1D90D}" dt="2025-02-05T21:49:35.131" v="206" actId="478"/>
          <ac:spMkLst>
            <pc:docMk/>
            <pc:sldMk cId="1903409771" sldId="2147474315"/>
            <ac:spMk id="3" creationId="{FF4785C9-CE96-5290-F663-2A007CA18CED}"/>
          </ac:spMkLst>
        </pc:spChg>
        <pc:spChg chg="del">
          <ac:chgData name="Darrell Bricker" userId="fb9a1de1-af3b-499e-b601-fe4e0e028be5" providerId="ADAL" clId="{8BD9ABB2-5DDC-4BD8-A8BE-C628EBB1D90D}" dt="2025-02-06T15:42:29.301" v="653" actId="478"/>
          <ac:spMkLst>
            <pc:docMk/>
            <pc:sldMk cId="1903409771" sldId="2147474315"/>
            <ac:spMk id="4" creationId="{6A9FB28D-6BF2-21B1-CA1A-F0F622B9B003}"/>
          </ac:spMkLst>
        </pc:spChg>
        <pc:spChg chg="del">
          <ac:chgData name="Darrell Bricker" userId="fb9a1de1-af3b-499e-b601-fe4e0e028be5" providerId="ADAL" clId="{8BD9ABB2-5DDC-4BD8-A8BE-C628EBB1D90D}" dt="2025-02-06T15:42:43.184" v="655" actId="478"/>
          <ac:spMkLst>
            <pc:docMk/>
            <pc:sldMk cId="1903409771" sldId="2147474315"/>
            <ac:spMk id="5" creationId="{1834F04F-E411-0BF4-640D-AF69B4DC2486}"/>
          </ac:spMkLst>
        </pc:spChg>
        <pc:spChg chg="mod">
          <ac:chgData name="Darrell Bricker" userId="fb9a1de1-af3b-499e-b601-fe4e0e028be5" providerId="ADAL" clId="{8BD9ABB2-5DDC-4BD8-A8BE-C628EBB1D90D}" dt="2025-02-05T21:51:05.539" v="240" actId="255"/>
          <ac:spMkLst>
            <pc:docMk/>
            <pc:sldMk cId="1903409771" sldId="2147474315"/>
            <ac:spMk id="6" creationId="{43B6BD9F-3C5D-28A9-C382-C23E2115AC56}"/>
          </ac:spMkLst>
        </pc:spChg>
      </pc:sldChg>
      <pc:sldChg chg="add ord">
        <pc:chgData name="Darrell Bricker" userId="fb9a1de1-af3b-499e-b601-fe4e0e028be5" providerId="ADAL" clId="{8BD9ABB2-5DDC-4BD8-A8BE-C628EBB1D90D}" dt="2025-02-06T15:21:18.030" v="514"/>
        <pc:sldMkLst>
          <pc:docMk/>
          <pc:sldMk cId="3911357327" sldId="2147474316"/>
        </pc:sldMkLst>
      </pc:sldChg>
      <pc:sldChg chg="modSp add del mod">
        <pc:chgData name="Darrell Bricker" userId="fb9a1de1-af3b-499e-b601-fe4e0e028be5" providerId="ADAL" clId="{8BD9ABB2-5DDC-4BD8-A8BE-C628EBB1D90D}" dt="2025-02-05T22:07:57.401" v="371" actId="47"/>
        <pc:sldMkLst>
          <pc:docMk/>
          <pc:sldMk cId="909129337" sldId="2147474317"/>
        </pc:sldMkLst>
        <pc:spChg chg="mod">
          <ac:chgData name="Darrell Bricker" userId="fb9a1de1-af3b-499e-b601-fe4e0e028be5" providerId="ADAL" clId="{8BD9ABB2-5DDC-4BD8-A8BE-C628EBB1D90D}" dt="2025-02-05T22:07:32.303" v="369" actId="6549"/>
          <ac:spMkLst>
            <pc:docMk/>
            <pc:sldMk cId="909129337" sldId="2147474317"/>
            <ac:spMk id="3" creationId="{4ED72910-2DC2-587A-4AFC-180235ED6A00}"/>
          </ac:spMkLst>
        </pc:spChg>
      </pc:sldChg>
      <pc:sldChg chg="delSp modSp mod">
        <pc:chgData name="Darrell Bricker" userId="fb9a1de1-af3b-499e-b601-fe4e0e028be5" providerId="ADAL" clId="{8BD9ABB2-5DDC-4BD8-A8BE-C628EBB1D90D}" dt="2025-02-06T15:20:38.125" v="511" actId="478"/>
        <pc:sldMkLst>
          <pc:docMk/>
          <pc:sldMk cId="1085785180" sldId="2147474317"/>
        </pc:sldMkLst>
        <pc:spChg chg="mod">
          <ac:chgData name="Darrell Bricker" userId="fb9a1de1-af3b-499e-b601-fe4e0e028be5" providerId="ADAL" clId="{8BD9ABB2-5DDC-4BD8-A8BE-C628EBB1D90D}" dt="2025-02-06T15:20:09.938" v="509" actId="6549"/>
          <ac:spMkLst>
            <pc:docMk/>
            <pc:sldMk cId="1085785180" sldId="2147474317"/>
            <ac:spMk id="3" creationId="{C8D6031F-E72C-3F42-9081-CF16A978AA33}"/>
          </ac:spMkLst>
        </pc:spChg>
        <pc:spChg chg="del">
          <ac:chgData name="Darrell Bricker" userId="fb9a1de1-af3b-499e-b601-fe4e0e028be5" providerId="ADAL" clId="{8BD9ABB2-5DDC-4BD8-A8BE-C628EBB1D90D}" dt="2025-02-06T15:20:38.125" v="511" actId="478"/>
          <ac:spMkLst>
            <pc:docMk/>
            <pc:sldMk cId="1085785180" sldId="2147474317"/>
            <ac:spMk id="8" creationId="{4FC9B5CE-5A9B-3D3D-AA9A-C31946E6582A}"/>
          </ac:spMkLst>
        </pc:spChg>
        <pc:picChg chg="del">
          <ac:chgData name="Darrell Bricker" userId="fb9a1de1-af3b-499e-b601-fe4e0e028be5" providerId="ADAL" clId="{8BD9ABB2-5DDC-4BD8-A8BE-C628EBB1D90D}" dt="2025-02-06T15:20:30.589" v="510" actId="478"/>
          <ac:picMkLst>
            <pc:docMk/>
            <pc:sldMk cId="1085785180" sldId="2147474317"/>
            <ac:picMk id="7" creationId="{0A23F1C4-E623-79CD-BEE7-B0347BE1D77E}"/>
          </ac:picMkLst>
        </pc:picChg>
      </pc:sldChg>
      <pc:sldMasterChg chg="delSp mod delSldLayout modSldLayout sldLayoutOrd">
        <pc:chgData name="Darrell Bricker" userId="fb9a1de1-af3b-499e-b601-fe4e0e028be5" providerId="ADAL" clId="{8BD9ABB2-5DDC-4BD8-A8BE-C628EBB1D90D}" dt="2025-02-06T15:42:11.615" v="651" actId="478"/>
        <pc:sldMasterMkLst>
          <pc:docMk/>
          <pc:sldMasterMk cId="2152739482" sldId="2147484392"/>
        </pc:sldMasterMkLst>
        <pc:spChg chg="del">
          <ac:chgData name="Darrell Bricker" userId="fb9a1de1-af3b-499e-b601-fe4e0e028be5" providerId="ADAL" clId="{8BD9ABB2-5DDC-4BD8-A8BE-C628EBB1D90D}" dt="2025-02-06T15:35:55.905" v="621" actId="478"/>
          <ac:spMkLst>
            <pc:docMk/>
            <pc:sldMasterMk cId="2152739482" sldId="2147484392"/>
            <ac:spMk id="6" creationId="{5145A4F0-7D5B-0FE6-3F2E-55FC068D8DC1}"/>
          </ac:spMkLst>
        </pc:spChg>
        <pc:picChg chg="del">
          <ac:chgData name="Darrell Bricker" userId="fb9a1de1-af3b-499e-b601-fe4e0e028be5" providerId="ADAL" clId="{8BD9ABB2-5DDC-4BD8-A8BE-C628EBB1D90D}" dt="2025-02-06T15:35:59.210" v="622" actId="478"/>
          <ac:picMkLst>
            <pc:docMk/>
            <pc:sldMasterMk cId="2152739482" sldId="2147484392"/>
            <ac:picMk id="5" creationId="{C35A0280-8C44-680A-5832-A13F49641EEF}"/>
          </ac:picMkLst>
        </pc:picChg>
        <pc:sldLayoutChg chg="delSp mod">
          <pc:chgData name="Darrell Bricker" userId="fb9a1de1-af3b-499e-b601-fe4e0e028be5" providerId="ADAL" clId="{8BD9ABB2-5DDC-4BD8-A8BE-C628EBB1D90D}" dt="2025-02-06T15:30:15.704" v="592" actId="478"/>
          <pc:sldLayoutMkLst>
            <pc:docMk/>
            <pc:sldMasterMk cId="2152739482" sldId="2147484392"/>
            <pc:sldLayoutMk cId="2543568643" sldId="2147484393"/>
          </pc:sldLayoutMkLst>
          <pc:spChg chg="del">
            <ac:chgData name="Darrell Bricker" userId="fb9a1de1-af3b-499e-b601-fe4e0e028be5" providerId="ADAL" clId="{8BD9ABB2-5DDC-4BD8-A8BE-C628EBB1D90D}" dt="2025-02-06T15:30:11.979" v="591" actId="478"/>
            <ac:spMkLst>
              <pc:docMk/>
              <pc:sldMasterMk cId="2152739482" sldId="2147484392"/>
              <pc:sldLayoutMk cId="2543568643" sldId="2147484393"/>
              <ac:spMk id="3" creationId="{6A957CF6-0DF2-748E-CBF0-17B6B8878BA1}"/>
            </ac:spMkLst>
          </pc:spChg>
          <pc:picChg chg="del">
            <ac:chgData name="Darrell Bricker" userId="fb9a1de1-af3b-499e-b601-fe4e0e028be5" providerId="ADAL" clId="{8BD9ABB2-5DDC-4BD8-A8BE-C628EBB1D90D}" dt="2025-02-06T15:30:15.704" v="592" actId="478"/>
            <ac:picMkLst>
              <pc:docMk/>
              <pc:sldMasterMk cId="2152739482" sldId="2147484392"/>
              <pc:sldLayoutMk cId="2543568643" sldId="2147484393"/>
              <ac:picMk id="6" creationId="{D51BDBE3-9968-5E35-08CF-59AE379160E8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36:07.561" v="624" actId="478"/>
          <pc:sldLayoutMkLst>
            <pc:docMk/>
            <pc:sldMasterMk cId="2152739482" sldId="2147484392"/>
            <pc:sldLayoutMk cId="2585779575" sldId="2147484394"/>
          </pc:sldLayoutMkLst>
          <pc:spChg chg="del">
            <ac:chgData name="Darrell Bricker" userId="fb9a1de1-af3b-499e-b601-fe4e0e028be5" providerId="ADAL" clId="{8BD9ABB2-5DDC-4BD8-A8BE-C628EBB1D90D}" dt="2025-02-06T15:36:03.822" v="623" actId="478"/>
            <ac:spMkLst>
              <pc:docMk/>
              <pc:sldMasterMk cId="2152739482" sldId="2147484392"/>
              <pc:sldLayoutMk cId="2585779575" sldId="2147484394"/>
              <ac:spMk id="3" creationId="{268034F8-D9C2-8C58-D3F0-75FD7B94D914}"/>
            </ac:spMkLst>
          </pc:spChg>
          <pc:picChg chg="del">
            <ac:chgData name="Darrell Bricker" userId="fb9a1de1-af3b-499e-b601-fe4e0e028be5" providerId="ADAL" clId="{8BD9ABB2-5DDC-4BD8-A8BE-C628EBB1D90D}" dt="2025-02-06T15:36:07.561" v="624" actId="478"/>
            <ac:picMkLst>
              <pc:docMk/>
              <pc:sldMasterMk cId="2152739482" sldId="2147484392"/>
              <pc:sldLayoutMk cId="2585779575" sldId="2147484394"/>
              <ac:picMk id="5" creationId="{65D48F56-6C5B-C485-DCFF-18C4C258F9DA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36:27.673" v="629" actId="478"/>
          <pc:sldLayoutMkLst>
            <pc:docMk/>
            <pc:sldMasterMk cId="2152739482" sldId="2147484392"/>
            <pc:sldLayoutMk cId="1718674118" sldId="2147484396"/>
          </pc:sldLayoutMkLst>
          <pc:picChg chg="del">
            <ac:chgData name="Darrell Bricker" userId="fb9a1de1-af3b-499e-b601-fe4e0e028be5" providerId="ADAL" clId="{8BD9ABB2-5DDC-4BD8-A8BE-C628EBB1D90D}" dt="2025-02-06T15:36:27.673" v="629" actId="478"/>
            <ac:picMkLst>
              <pc:docMk/>
              <pc:sldMasterMk cId="2152739482" sldId="2147484392"/>
              <pc:sldLayoutMk cId="1718674118" sldId="2147484396"/>
              <ac:picMk id="4" creationId="{A69ABB24-E19C-5E01-8FCE-03686B27813D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36:23.041" v="628" actId="478"/>
          <pc:sldLayoutMkLst>
            <pc:docMk/>
            <pc:sldMasterMk cId="2152739482" sldId="2147484392"/>
            <pc:sldLayoutMk cId="952695875" sldId="2147484398"/>
          </pc:sldLayoutMkLst>
          <pc:spChg chg="del">
            <ac:chgData name="Darrell Bricker" userId="fb9a1de1-af3b-499e-b601-fe4e0e028be5" providerId="ADAL" clId="{8BD9ABB2-5DDC-4BD8-A8BE-C628EBB1D90D}" dt="2025-02-06T15:36:20.136" v="627" actId="478"/>
            <ac:spMkLst>
              <pc:docMk/>
              <pc:sldMasterMk cId="2152739482" sldId="2147484392"/>
              <pc:sldLayoutMk cId="952695875" sldId="2147484398"/>
              <ac:spMk id="16" creationId="{F7612056-C83D-6D6F-29E4-738CDFF485C6}"/>
            </ac:spMkLst>
          </pc:spChg>
          <pc:picChg chg="del">
            <ac:chgData name="Darrell Bricker" userId="fb9a1de1-af3b-499e-b601-fe4e0e028be5" providerId="ADAL" clId="{8BD9ABB2-5DDC-4BD8-A8BE-C628EBB1D90D}" dt="2025-02-06T15:36:23.041" v="628" actId="478"/>
            <ac:picMkLst>
              <pc:docMk/>
              <pc:sldMasterMk cId="2152739482" sldId="2147484392"/>
              <pc:sldLayoutMk cId="952695875" sldId="2147484398"/>
              <ac:picMk id="4" creationId="{9A734190-E147-6525-06DF-CBE67A8F5701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41:52.604" v="647" actId="478"/>
          <pc:sldLayoutMkLst>
            <pc:docMk/>
            <pc:sldMasterMk cId="2152739482" sldId="2147484392"/>
            <pc:sldLayoutMk cId="849728254" sldId="2147484409"/>
          </pc:sldLayoutMkLst>
          <pc:spChg chg="del">
            <ac:chgData name="Darrell Bricker" userId="fb9a1de1-af3b-499e-b601-fe4e0e028be5" providerId="ADAL" clId="{8BD9ABB2-5DDC-4BD8-A8BE-C628EBB1D90D}" dt="2025-02-06T15:41:49.703" v="646" actId="478"/>
            <ac:spMkLst>
              <pc:docMk/>
              <pc:sldMasterMk cId="2152739482" sldId="2147484392"/>
              <pc:sldLayoutMk cId="849728254" sldId="2147484409"/>
              <ac:spMk id="4" creationId="{7BC3E079-CD4E-AFD3-AEB4-D1848C22C062}"/>
            </ac:spMkLst>
          </pc:spChg>
          <pc:picChg chg="del">
            <ac:chgData name="Darrell Bricker" userId="fb9a1de1-af3b-499e-b601-fe4e0e028be5" providerId="ADAL" clId="{8BD9ABB2-5DDC-4BD8-A8BE-C628EBB1D90D}" dt="2025-02-06T15:41:52.604" v="647" actId="478"/>
            <ac:picMkLst>
              <pc:docMk/>
              <pc:sldMasterMk cId="2152739482" sldId="2147484392"/>
              <pc:sldLayoutMk cId="849728254" sldId="2147484409"/>
              <ac:picMk id="5" creationId="{C5D40D82-A955-EDFD-14F8-9814CC1A2FC8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42:02.174" v="649" actId="478"/>
          <pc:sldLayoutMkLst>
            <pc:docMk/>
            <pc:sldMasterMk cId="2152739482" sldId="2147484392"/>
            <pc:sldLayoutMk cId="2073423802" sldId="2147484410"/>
          </pc:sldLayoutMkLst>
          <pc:spChg chg="del">
            <ac:chgData name="Darrell Bricker" userId="fb9a1de1-af3b-499e-b601-fe4e0e028be5" providerId="ADAL" clId="{8BD9ABB2-5DDC-4BD8-A8BE-C628EBB1D90D}" dt="2025-02-06T15:41:59.109" v="648" actId="478"/>
            <ac:spMkLst>
              <pc:docMk/>
              <pc:sldMasterMk cId="2152739482" sldId="2147484392"/>
              <pc:sldLayoutMk cId="2073423802" sldId="2147484410"/>
              <ac:spMk id="18" creationId="{2155CA54-02B7-79F0-5516-A0D416D045E4}"/>
            </ac:spMkLst>
          </pc:spChg>
          <pc:picChg chg="del">
            <ac:chgData name="Darrell Bricker" userId="fb9a1de1-af3b-499e-b601-fe4e0e028be5" providerId="ADAL" clId="{8BD9ABB2-5DDC-4BD8-A8BE-C628EBB1D90D}" dt="2025-02-06T15:42:02.174" v="649" actId="478"/>
            <ac:picMkLst>
              <pc:docMk/>
              <pc:sldMasterMk cId="2152739482" sldId="2147484392"/>
              <pc:sldLayoutMk cId="2073423802" sldId="2147484410"/>
              <ac:picMk id="3" creationId="{A11A9D1F-C624-08F0-8621-28DDFA9E4C06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42:11.615" v="651" actId="478"/>
          <pc:sldLayoutMkLst>
            <pc:docMk/>
            <pc:sldMasterMk cId="2152739482" sldId="2147484392"/>
            <pc:sldLayoutMk cId="702690407" sldId="2147484411"/>
          </pc:sldLayoutMkLst>
          <pc:spChg chg="del">
            <ac:chgData name="Darrell Bricker" userId="fb9a1de1-af3b-499e-b601-fe4e0e028be5" providerId="ADAL" clId="{8BD9ABB2-5DDC-4BD8-A8BE-C628EBB1D90D}" dt="2025-02-06T15:42:08.578" v="650" actId="478"/>
            <ac:spMkLst>
              <pc:docMk/>
              <pc:sldMasterMk cId="2152739482" sldId="2147484392"/>
              <pc:sldLayoutMk cId="702690407" sldId="2147484411"/>
              <ac:spMk id="15" creationId="{77A0CF32-CA7B-E30F-BB30-CC83E338503F}"/>
            </ac:spMkLst>
          </pc:spChg>
          <pc:picChg chg="del">
            <ac:chgData name="Darrell Bricker" userId="fb9a1de1-af3b-499e-b601-fe4e0e028be5" providerId="ADAL" clId="{8BD9ABB2-5DDC-4BD8-A8BE-C628EBB1D90D}" dt="2025-02-06T15:42:11.615" v="651" actId="478"/>
            <ac:picMkLst>
              <pc:docMk/>
              <pc:sldMasterMk cId="2152739482" sldId="2147484392"/>
              <pc:sldLayoutMk cId="702690407" sldId="2147484411"/>
              <ac:picMk id="4" creationId="{944C1530-3FDC-7F13-8E3A-C59E7EC89670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36:15.599" v="626" actId="478"/>
          <pc:sldLayoutMkLst>
            <pc:docMk/>
            <pc:sldMasterMk cId="2152739482" sldId="2147484392"/>
            <pc:sldLayoutMk cId="1179508911" sldId="2147484418"/>
          </pc:sldLayoutMkLst>
          <pc:spChg chg="del">
            <ac:chgData name="Darrell Bricker" userId="fb9a1de1-af3b-499e-b601-fe4e0e028be5" providerId="ADAL" clId="{8BD9ABB2-5DDC-4BD8-A8BE-C628EBB1D90D}" dt="2025-02-06T15:36:12.136" v="625" actId="478"/>
            <ac:spMkLst>
              <pc:docMk/>
              <pc:sldMasterMk cId="2152739482" sldId="2147484392"/>
              <pc:sldLayoutMk cId="1179508911" sldId="2147484418"/>
              <ac:spMk id="5" creationId="{A2DBDE31-A0D1-C0E0-CFCE-D83929DAC7B6}"/>
            </ac:spMkLst>
          </pc:spChg>
          <pc:picChg chg="del">
            <ac:chgData name="Darrell Bricker" userId="fb9a1de1-af3b-499e-b601-fe4e0e028be5" providerId="ADAL" clId="{8BD9ABB2-5DDC-4BD8-A8BE-C628EBB1D90D}" dt="2025-02-06T15:36:15.599" v="626" actId="478"/>
            <ac:picMkLst>
              <pc:docMk/>
              <pc:sldMasterMk cId="2152739482" sldId="2147484392"/>
              <pc:sldLayoutMk cId="1179508911" sldId="2147484418"/>
              <ac:picMk id="3" creationId="{CB989213-36EC-3BE4-A381-B024813F744F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36:58.569" v="631" actId="478"/>
          <pc:sldLayoutMkLst>
            <pc:docMk/>
            <pc:sldMasterMk cId="2152739482" sldId="2147484392"/>
            <pc:sldLayoutMk cId="3850495813" sldId="2147484444"/>
          </pc:sldLayoutMkLst>
          <pc:spChg chg="del">
            <ac:chgData name="Darrell Bricker" userId="fb9a1de1-af3b-499e-b601-fe4e0e028be5" providerId="ADAL" clId="{8BD9ABB2-5DDC-4BD8-A8BE-C628EBB1D90D}" dt="2025-02-06T15:36:55.131" v="630" actId="478"/>
            <ac:spMkLst>
              <pc:docMk/>
              <pc:sldMasterMk cId="2152739482" sldId="2147484392"/>
              <pc:sldLayoutMk cId="3850495813" sldId="2147484444"/>
              <ac:spMk id="8" creationId="{B4AC6576-1CFA-49E3-6518-BDBEF92D4EB5}"/>
            </ac:spMkLst>
          </pc:spChg>
          <pc:picChg chg="del">
            <ac:chgData name="Darrell Bricker" userId="fb9a1de1-af3b-499e-b601-fe4e0e028be5" providerId="ADAL" clId="{8BD9ABB2-5DDC-4BD8-A8BE-C628EBB1D90D}" dt="2025-02-06T15:36:58.569" v="631" actId="478"/>
            <ac:picMkLst>
              <pc:docMk/>
              <pc:sldMasterMk cId="2152739482" sldId="2147484392"/>
              <pc:sldLayoutMk cId="3850495813" sldId="2147484444"/>
              <ac:picMk id="9" creationId="{4990A493-FD4C-BCDA-2FAD-E615AB956B23}"/>
            </ac:picMkLst>
          </pc:picChg>
        </pc:sldLayoutChg>
        <pc:sldLayoutChg chg="del">
          <pc:chgData name="Darrell Bricker" userId="fb9a1de1-af3b-499e-b601-fe4e0e028be5" providerId="ADAL" clId="{8BD9ABB2-5DDC-4BD8-A8BE-C628EBB1D90D}" dt="2025-02-06T15:21:09.106" v="512" actId="47"/>
          <pc:sldLayoutMkLst>
            <pc:docMk/>
            <pc:sldMasterMk cId="2152739482" sldId="2147484392"/>
            <pc:sldLayoutMk cId="541506700" sldId="2147484447"/>
          </pc:sldLayoutMkLst>
        </pc:sldLayoutChg>
        <pc:sldLayoutChg chg="delSp mod">
          <pc:chgData name="Darrell Bricker" userId="fb9a1de1-af3b-499e-b601-fe4e0e028be5" providerId="ADAL" clId="{8BD9ABB2-5DDC-4BD8-A8BE-C628EBB1D90D}" dt="2025-02-06T15:38:22.514" v="635" actId="478"/>
          <pc:sldLayoutMkLst>
            <pc:docMk/>
            <pc:sldMasterMk cId="2152739482" sldId="2147484392"/>
            <pc:sldLayoutMk cId="214712592" sldId="2147484449"/>
          </pc:sldLayoutMkLst>
          <pc:spChg chg="del">
            <ac:chgData name="Darrell Bricker" userId="fb9a1de1-af3b-499e-b601-fe4e0e028be5" providerId="ADAL" clId="{8BD9ABB2-5DDC-4BD8-A8BE-C628EBB1D90D}" dt="2025-02-06T15:38:16.848" v="634" actId="478"/>
            <ac:spMkLst>
              <pc:docMk/>
              <pc:sldMasterMk cId="2152739482" sldId="2147484392"/>
              <pc:sldLayoutMk cId="214712592" sldId="2147484449"/>
              <ac:spMk id="8" creationId="{1BF6DD32-A06D-47BC-9B93-8EE254E3DC7A}"/>
            </ac:spMkLst>
          </pc:spChg>
          <pc:picChg chg="del">
            <ac:chgData name="Darrell Bricker" userId="fb9a1de1-af3b-499e-b601-fe4e0e028be5" providerId="ADAL" clId="{8BD9ABB2-5DDC-4BD8-A8BE-C628EBB1D90D}" dt="2025-02-06T15:38:22.514" v="635" actId="478"/>
            <ac:picMkLst>
              <pc:docMk/>
              <pc:sldMasterMk cId="2152739482" sldId="2147484392"/>
              <pc:sldLayoutMk cId="214712592" sldId="2147484449"/>
              <ac:picMk id="7" creationId="{C43AE2AE-775B-45CE-AD6F-550D31F23EE0}"/>
            </ac:picMkLst>
          </pc:picChg>
        </pc:sldLayoutChg>
        <pc:sldLayoutChg chg="delSp mod">
          <pc:chgData name="Darrell Bricker" userId="fb9a1de1-af3b-499e-b601-fe4e0e028be5" providerId="ADAL" clId="{8BD9ABB2-5DDC-4BD8-A8BE-C628EBB1D90D}" dt="2025-02-06T15:32:09.549" v="603" actId="478"/>
          <pc:sldLayoutMkLst>
            <pc:docMk/>
            <pc:sldMasterMk cId="2152739482" sldId="2147484392"/>
            <pc:sldLayoutMk cId="52577949" sldId="2147484475"/>
          </pc:sldLayoutMkLst>
          <pc:spChg chg="del">
            <ac:chgData name="Darrell Bricker" userId="fb9a1de1-af3b-499e-b601-fe4e0e028be5" providerId="ADAL" clId="{8BD9ABB2-5DDC-4BD8-A8BE-C628EBB1D90D}" dt="2025-02-06T15:32:09.549" v="603" actId="478"/>
            <ac:spMkLst>
              <pc:docMk/>
              <pc:sldMasterMk cId="2152739482" sldId="2147484392"/>
              <pc:sldLayoutMk cId="52577949" sldId="2147484475"/>
              <ac:spMk id="6" creationId="{32F56D4F-0206-C449-AE0A-FAAC5583B757}"/>
            </ac:spMkLst>
          </pc:spChg>
          <pc:spChg chg="del">
            <ac:chgData name="Darrell Bricker" userId="fb9a1de1-af3b-499e-b601-fe4e0e028be5" providerId="ADAL" clId="{8BD9ABB2-5DDC-4BD8-A8BE-C628EBB1D90D}" dt="2025-02-06T15:31:54.590" v="601" actId="478"/>
            <ac:spMkLst>
              <pc:docMk/>
              <pc:sldMasterMk cId="2152739482" sldId="2147484392"/>
              <pc:sldLayoutMk cId="52577949" sldId="2147484475"/>
              <ac:spMk id="8" creationId="{30E8D481-C4E2-4DF8-952B-50B7934AE43B}"/>
            </ac:spMkLst>
          </pc:spChg>
          <pc:picChg chg="del">
            <ac:chgData name="Darrell Bricker" userId="fb9a1de1-af3b-499e-b601-fe4e0e028be5" providerId="ADAL" clId="{8BD9ABB2-5DDC-4BD8-A8BE-C628EBB1D90D}" dt="2025-02-06T15:32:04.758" v="602" actId="478"/>
            <ac:picMkLst>
              <pc:docMk/>
              <pc:sldMasterMk cId="2152739482" sldId="2147484392"/>
              <pc:sldLayoutMk cId="52577949" sldId="2147484475"/>
              <ac:picMk id="9" creationId="{27EDFCC5-881B-425D-B482-88D23317EEB8}"/>
            </ac:picMkLst>
          </pc:picChg>
        </pc:sldLayoutChg>
        <pc:sldLayoutChg chg="delSp modSp mod ord">
          <pc:chgData name="Darrell Bricker" userId="fb9a1de1-af3b-499e-b601-fe4e0e028be5" providerId="ADAL" clId="{8BD9ABB2-5DDC-4BD8-A8BE-C628EBB1D90D}" dt="2025-02-06T15:32:23.655" v="605" actId="478"/>
          <pc:sldLayoutMkLst>
            <pc:docMk/>
            <pc:sldMasterMk cId="2152739482" sldId="2147484392"/>
            <pc:sldLayoutMk cId="159591563" sldId="2147485258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9591563" sldId="2147485258"/>
              <ac:spMk id="2" creationId="{B66D97C3-1B7F-5C9F-E63F-96F1A14B6253}"/>
            </ac:spMkLst>
          </pc:spChg>
          <pc:spChg chg="del">
            <ac:chgData name="Darrell Bricker" userId="fb9a1de1-af3b-499e-b601-fe4e0e028be5" providerId="ADAL" clId="{8BD9ABB2-5DDC-4BD8-A8BE-C628EBB1D90D}" dt="2025-02-06T15:32:18.436" v="604" actId="478"/>
            <ac:spMkLst>
              <pc:docMk/>
              <pc:sldMasterMk cId="2152739482" sldId="2147484392"/>
              <pc:sldLayoutMk cId="159591563" sldId="2147485258"/>
              <ac:spMk id="3" creationId="{6A957CF6-0DF2-748E-CBF0-17B6B8878BA1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9591563" sldId="2147485258"/>
              <ac:spMk id="4" creationId="{2B307F84-45B4-FBB4-1E6C-CD4B241E73D1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9591563" sldId="2147485258"/>
              <ac:spMk id="7" creationId="{67F8163F-D370-5C4C-500A-7D576C590BB1}"/>
            </ac:spMkLst>
          </pc:spChg>
          <pc:picChg chg="del">
            <ac:chgData name="Darrell Bricker" userId="fb9a1de1-af3b-499e-b601-fe4e0e028be5" providerId="ADAL" clId="{8BD9ABB2-5DDC-4BD8-A8BE-C628EBB1D90D}" dt="2025-02-06T15:32:23.655" v="605" actId="478"/>
            <ac:picMkLst>
              <pc:docMk/>
              <pc:sldMasterMk cId="2152739482" sldId="2147484392"/>
              <pc:sldLayoutMk cId="159591563" sldId="2147485258"/>
              <ac:picMk id="6" creationId="{D51BDBE3-9968-5E35-08CF-59AE379160E8}"/>
            </ac:picMkLst>
          </pc:picChg>
        </pc:sldLayoutChg>
        <pc:sldLayoutChg chg="delSp modSp mod ord">
          <pc:chgData name="Darrell Bricker" userId="fb9a1de1-af3b-499e-b601-fe4e0e028be5" providerId="ADAL" clId="{8BD9ABB2-5DDC-4BD8-A8BE-C628EBB1D90D}" dt="2025-02-06T15:32:32.996" v="607" actId="478"/>
          <pc:sldLayoutMkLst>
            <pc:docMk/>
            <pc:sldMasterMk cId="2152739482" sldId="2147484392"/>
            <pc:sldLayoutMk cId="1632742255" sldId="2147485259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632742255" sldId="2147485259"/>
              <ac:spMk id="2" creationId="{B66D97C3-1B7F-5C9F-E63F-96F1A14B6253}"/>
            </ac:spMkLst>
          </pc:spChg>
          <pc:spChg chg="del">
            <ac:chgData name="Darrell Bricker" userId="fb9a1de1-af3b-499e-b601-fe4e0e028be5" providerId="ADAL" clId="{8BD9ABB2-5DDC-4BD8-A8BE-C628EBB1D90D}" dt="2025-02-06T15:32:28.203" v="606" actId="478"/>
            <ac:spMkLst>
              <pc:docMk/>
              <pc:sldMasterMk cId="2152739482" sldId="2147484392"/>
              <pc:sldLayoutMk cId="1632742255" sldId="2147485259"/>
              <ac:spMk id="3" creationId="{268034F8-D9C2-8C58-D3F0-75FD7B94D91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632742255" sldId="2147485259"/>
              <ac:spMk id="4" creationId="{CCE9AAD8-E91C-C496-B418-A50607DEBA4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632742255" sldId="2147485259"/>
              <ac:spMk id="7" creationId="{67F8163F-D370-5C4C-500A-7D576C590BB1}"/>
            </ac:spMkLst>
          </pc:spChg>
          <pc:picChg chg="del">
            <ac:chgData name="Darrell Bricker" userId="fb9a1de1-af3b-499e-b601-fe4e0e028be5" providerId="ADAL" clId="{8BD9ABB2-5DDC-4BD8-A8BE-C628EBB1D90D}" dt="2025-02-06T15:32:32.996" v="607" actId="478"/>
            <ac:picMkLst>
              <pc:docMk/>
              <pc:sldMasterMk cId="2152739482" sldId="2147484392"/>
              <pc:sldLayoutMk cId="1632742255" sldId="2147485259"/>
              <ac:picMk id="5" creationId="{65D48F56-6C5B-C485-DCFF-18C4C258F9DA}"/>
            </ac:picMkLst>
          </pc:picChg>
        </pc:sldLayoutChg>
        <pc:sldLayoutChg chg="delSp modSp mod ord">
          <pc:chgData name="Darrell Bricker" userId="fb9a1de1-af3b-499e-b601-fe4e0e028be5" providerId="ADAL" clId="{8BD9ABB2-5DDC-4BD8-A8BE-C628EBB1D90D}" dt="2025-02-06T15:32:42.424" v="609" actId="478"/>
          <pc:sldLayoutMkLst>
            <pc:docMk/>
            <pc:sldMasterMk cId="2152739482" sldId="2147484392"/>
            <pc:sldLayoutMk cId="2222278279" sldId="2147485260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222278279" sldId="2147485260"/>
              <ac:spMk id="2" creationId="{B66D97C3-1B7F-5C9F-E63F-96F1A14B6253}"/>
            </ac:spMkLst>
          </pc:spChg>
          <pc:spChg chg="del">
            <ac:chgData name="Darrell Bricker" userId="fb9a1de1-af3b-499e-b601-fe4e0e028be5" providerId="ADAL" clId="{8BD9ABB2-5DDC-4BD8-A8BE-C628EBB1D90D}" dt="2025-02-06T15:32:39" v="608" actId="478"/>
            <ac:spMkLst>
              <pc:docMk/>
              <pc:sldMasterMk cId="2152739482" sldId="2147484392"/>
              <pc:sldLayoutMk cId="2222278279" sldId="2147485260"/>
              <ac:spMk id="5" creationId="{A2DBDE31-A0D1-C0E0-CFCE-D83929DAC7B6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222278279" sldId="2147485260"/>
              <ac:spMk id="6" creationId="{433BB7AA-54DD-4BAB-0FD5-D287A85CE469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222278279" sldId="2147485260"/>
              <ac:spMk id="7" creationId="{67F8163F-D370-5C4C-500A-7D576C590BB1}"/>
            </ac:spMkLst>
          </pc:spChg>
          <pc:picChg chg="del">
            <ac:chgData name="Darrell Bricker" userId="fb9a1de1-af3b-499e-b601-fe4e0e028be5" providerId="ADAL" clId="{8BD9ABB2-5DDC-4BD8-A8BE-C628EBB1D90D}" dt="2025-02-06T15:32:42.424" v="609" actId="478"/>
            <ac:picMkLst>
              <pc:docMk/>
              <pc:sldMasterMk cId="2152739482" sldId="2147484392"/>
              <pc:sldLayoutMk cId="2222278279" sldId="2147485260"/>
              <ac:picMk id="3" creationId="{CB989213-36EC-3BE4-A381-B024813F744F}"/>
            </ac:picMkLst>
          </pc:picChg>
        </pc:sldLayoutChg>
        <pc:sldLayoutChg chg="delSp modSp mod ord">
          <pc:chgData name="Darrell Bricker" userId="fb9a1de1-af3b-499e-b601-fe4e0e028be5" providerId="ADAL" clId="{8BD9ABB2-5DDC-4BD8-A8BE-C628EBB1D90D}" dt="2025-02-06T15:32:51.445" v="611" actId="478"/>
          <pc:sldLayoutMkLst>
            <pc:docMk/>
            <pc:sldMasterMk cId="2152739482" sldId="2147484392"/>
            <pc:sldLayoutMk cId="2311656890" sldId="2147485261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311656890" sldId="2147485261"/>
              <ac:spMk id="2" creationId="{B024DFEA-2014-1751-E480-8A66CDCDA55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311656890" sldId="2147485261"/>
              <ac:spMk id="11" creationId="{7066FE41-55CD-1D44-7ED7-B1E742AF1832}"/>
            </ac:spMkLst>
          </pc:spChg>
          <pc:spChg chg="del">
            <ac:chgData name="Darrell Bricker" userId="fb9a1de1-af3b-499e-b601-fe4e0e028be5" providerId="ADAL" clId="{8BD9ABB2-5DDC-4BD8-A8BE-C628EBB1D90D}" dt="2025-02-06T15:32:48.195" v="610" actId="478"/>
            <ac:spMkLst>
              <pc:docMk/>
              <pc:sldMasterMk cId="2152739482" sldId="2147484392"/>
              <pc:sldLayoutMk cId="2311656890" sldId="2147485261"/>
              <ac:spMk id="16" creationId="{F7612056-C83D-6D6F-29E4-738CDFF485C6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311656890" sldId="2147485261"/>
              <ac:spMk id="17" creationId="{1C3EC48E-82FF-AD78-A375-4569D055911C}"/>
            </ac:spMkLst>
          </pc:spChg>
          <pc:picChg chg="del">
            <ac:chgData name="Darrell Bricker" userId="fb9a1de1-af3b-499e-b601-fe4e0e028be5" providerId="ADAL" clId="{8BD9ABB2-5DDC-4BD8-A8BE-C628EBB1D90D}" dt="2025-02-06T15:32:51.445" v="611" actId="478"/>
            <ac:picMkLst>
              <pc:docMk/>
              <pc:sldMasterMk cId="2152739482" sldId="2147484392"/>
              <pc:sldLayoutMk cId="2311656890" sldId="2147485261"/>
              <ac:picMk id="4" creationId="{9A734190-E147-6525-06DF-CBE67A8F5701}"/>
            </ac:picMkLst>
          </pc:picChg>
        </pc:sldLayoutChg>
        <pc:sldLayoutChg chg="delSp modSp mod ord">
          <pc:chgData name="Darrell Bricker" userId="fb9a1de1-af3b-499e-b601-fe4e0e028be5" providerId="ADAL" clId="{8BD9ABB2-5DDC-4BD8-A8BE-C628EBB1D90D}" dt="2025-02-06T15:32:56.281" v="612" actId="478"/>
          <pc:sldLayoutMkLst>
            <pc:docMk/>
            <pc:sldMasterMk cId="2152739482" sldId="2147484392"/>
            <pc:sldLayoutMk cId="2701515130" sldId="2147485262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01515130" sldId="2147485262"/>
              <ac:spMk id="2" creationId="{B66D97C3-1B7F-5C9F-E63F-96F1A14B625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01515130" sldId="2147485262"/>
              <ac:spMk id="3" creationId="{291164C1-FFDE-EA90-BDBC-A8ECC8F00D0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01515130" sldId="2147485262"/>
              <ac:spMk id="10" creationId="{92B650A8-9C21-DC86-F471-38B40FC6D582}"/>
            </ac:spMkLst>
          </pc:spChg>
          <pc:picChg chg="del">
            <ac:chgData name="Darrell Bricker" userId="fb9a1de1-af3b-499e-b601-fe4e0e028be5" providerId="ADAL" clId="{8BD9ABB2-5DDC-4BD8-A8BE-C628EBB1D90D}" dt="2025-02-06T15:32:56.281" v="612" actId="478"/>
            <ac:picMkLst>
              <pc:docMk/>
              <pc:sldMasterMk cId="2152739482" sldId="2147484392"/>
              <pc:sldLayoutMk cId="2701515130" sldId="2147485262"/>
              <ac:picMk id="4" creationId="{A69ABB24-E19C-5E01-8FCE-03686B27813D}"/>
            </ac:picMkLst>
          </pc:pic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3551210772" sldId="2147485263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551210772" sldId="2147485263"/>
              <ac:spMk id="2" creationId="{16FE4D39-4D4B-EF55-6284-160F99E53352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3805722418" sldId="2147485264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805722418" sldId="2147485264"/>
              <ac:spMk id="2" creationId="{931429DE-4D63-DCEA-0E6E-B1E263115B2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805722418" sldId="2147485264"/>
              <ac:spMk id="3" creationId="{1703231E-4063-4D72-A4F3-5BF19050C303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4071180311" sldId="2147485265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4071180311" sldId="2147485265"/>
              <ac:spMk id="2" creationId="{8114F419-BE4D-C750-7148-9CE8C43FA619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592638500" sldId="2147485266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92638500" sldId="2147485266"/>
              <ac:spMk id="2" creationId="{63011884-C2D5-14CD-9848-37C5CB013EB4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3370552631" sldId="2147485267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70552631" sldId="2147485267"/>
              <ac:spMk id="2" creationId="{63011884-C2D5-14CD-9848-37C5CB013EB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70552631" sldId="2147485267"/>
              <ac:spMk id="3" creationId="{A73E53EB-3CF7-23AB-A106-C20DD2520CBC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396189170" sldId="2147485268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2" creationId="{B9379921-B222-AEF2-4C24-F79AEBA1BF8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3" creationId="{1703231E-4063-4D72-A4F3-5BF19050C30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15" creationId="{2D6D46A2-3813-48AC-B44F-11FED09C9607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16" creationId="{912710EB-D5BC-4555-8C11-D849D8A58199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25" creationId="{F7598694-721D-C499-32B8-2559553463B9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26" creationId="{D497C279-EB05-83B6-CAFE-F19E9494173D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396189170" sldId="2147485268"/>
              <ac:spMk id="27" creationId="{436747DF-926E-3B9F-54BC-14918175083E}"/>
            </ac:spMkLst>
          </pc:spChg>
        </pc:sldLayoutChg>
        <pc:sldLayoutChg chg="delSp modSp mod ord">
          <pc:chgData name="Darrell Bricker" userId="fb9a1de1-af3b-499e-b601-fe4e0e028be5" providerId="ADAL" clId="{8BD9ABB2-5DDC-4BD8-A8BE-C628EBB1D90D}" dt="2025-02-06T15:34:02.746" v="616" actId="478"/>
          <pc:sldLayoutMkLst>
            <pc:docMk/>
            <pc:sldMasterMk cId="2152739482" sldId="2147484392"/>
            <pc:sldLayoutMk cId="1491308022" sldId="2147485269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" creationId="{855C23FA-A39C-47E2-B32E-D31B7F81F736}"/>
            </ac:spMkLst>
          </pc:spChg>
          <pc:spChg chg="del">
            <ac:chgData name="Darrell Bricker" userId="fb9a1de1-af3b-499e-b601-fe4e0e028be5" providerId="ADAL" clId="{8BD9ABB2-5DDC-4BD8-A8BE-C628EBB1D90D}" dt="2025-02-06T15:33:59.799" v="615" actId="478"/>
            <ac:spMkLst>
              <pc:docMk/>
              <pc:sldMasterMk cId="2152739482" sldId="2147484392"/>
              <pc:sldLayoutMk cId="1491308022" sldId="2147485269"/>
              <ac:spMk id="18" creationId="{2155CA54-02B7-79F0-5516-A0D416D045E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0" creationId="{BD5D8EA5-7317-FA5E-316E-1D3D71DF6AA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1" creationId="{4216BF9A-6BA6-35A3-FAD8-E4C7E65B2AA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2" creationId="{FC92A1A9-8935-05F9-478C-509E31A7C350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3" creationId="{C90786FC-B649-5DE3-D2C4-49F260FE2D9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8" creationId="{A4FE8203-E4D0-7D71-9DAB-DCD79DF29458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29" creationId="{3893695E-4514-8C5C-A541-ACC2C0140DD6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30" creationId="{E6E126AC-28F0-4A7D-DC28-46188F46FAA7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491308022" sldId="2147485269"/>
              <ac:spMk id="31" creationId="{9A2242AD-0A81-133A-985E-D1CF4585102C}"/>
            </ac:spMkLst>
          </pc:spChg>
          <pc:picChg chg="del">
            <ac:chgData name="Darrell Bricker" userId="fb9a1de1-af3b-499e-b601-fe4e0e028be5" providerId="ADAL" clId="{8BD9ABB2-5DDC-4BD8-A8BE-C628EBB1D90D}" dt="2025-02-06T15:34:02.746" v="616" actId="478"/>
            <ac:picMkLst>
              <pc:docMk/>
              <pc:sldMasterMk cId="2152739482" sldId="2147484392"/>
              <pc:sldLayoutMk cId="1491308022" sldId="2147485269"/>
              <ac:picMk id="3" creationId="{A11A9D1F-C624-08F0-8621-28DDFA9E4C06}"/>
            </ac:picMkLst>
          </pc:picChg>
        </pc:sldLayoutChg>
        <pc:sldLayoutChg chg="delSp modSp mod ord">
          <pc:chgData name="Darrell Bricker" userId="fb9a1de1-af3b-499e-b601-fe4e0e028be5" providerId="ADAL" clId="{8BD9ABB2-5DDC-4BD8-A8BE-C628EBB1D90D}" dt="2025-02-06T15:33:53.410" v="614" actId="478"/>
          <pc:sldLayoutMkLst>
            <pc:docMk/>
            <pc:sldMasterMk cId="2152739482" sldId="2147484392"/>
            <pc:sldLayoutMk cId="4228694155" sldId="2147485270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4228694155" sldId="2147485270"/>
              <ac:spMk id="2" creationId="{931429DE-4D63-DCEA-0E6E-B1E263115B2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4228694155" sldId="2147485270"/>
              <ac:spMk id="3" creationId="{1703231E-4063-4D72-A4F3-5BF19050C303}"/>
            </ac:spMkLst>
          </pc:spChg>
          <pc:spChg chg="del">
            <ac:chgData name="Darrell Bricker" userId="fb9a1de1-af3b-499e-b601-fe4e0e028be5" providerId="ADAL" clId="{8BD9ABB2-5DDC-4BD8-A8BE-C628EBB1D90D}" dt="2025-02-06T15:33:50.305" v="613" actId="478"/>
            <ac:spMkLst>
              <pc:docMk/>
              <pc:sldMasterMk cId="2152739482" sldId="2147484392"/>
              <pc:sldLayoutMk cId="4228694155" sldId="2147485270"/>
              <ac:spMk id="15" creationId="{77A0CF32-CA7B-E30F-BB30-CC83E338503F}"/>
            </ac:spMkLst>
          </pc:spChg>
          <pc:picChg chg="del">
            <ac:chgData name="Darrell Bricker" userId="fb9a1de1-af3b-499e-b601-fe4e0e028be5" providerId="ADAL" clId="{8BD9ABB2-5DDC-4BD8-A8BE-C628EBB1D90D}" dt="2025-02-06T15:33:53.410" v="614" actId="478"/>
            <ac:picMkLst>
              <pc:docMk/>
              <pc:sldMasterMk cId="2152739482" sldId="2147484392"/>
              <pc:sldLayoutMk cId="4228694155" sldId="2147485270"/>
              <ac:picMk id="4" creationId="{944C1530-3FDC-7F13-8E3A-C59E7EC89670}"/>
            </ac:picMkLst>
          </pc:pic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568970037" sldId="2147485271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68970037" sldId="2147485271"/>
              <ac:spMk id="2" creationId="{1B78339B-491C-FFB1-1D03-FBEC566DAE79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68970037" sldId="2147485271"/>
              <ac:spMk id="4" creationId="{C52FEDE2-F5A1-7181-F7EE-8B93838D0D13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3311939222" sldId="2147485272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11939222" sldId="2147485272"/>
              <ac:spMk id="3" creationId="{1703231E-4063-4D72-A4F3-5BF19050C30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11939222" sldId="2147485272"/>
              <ac:spMk id="7" creationId="{5245E30C-ACBC-4426-8962-C03D3DB3F088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11939222" sldId="2147485272"/>
              <ac:spMk id="15" creationId="{FED60B5C-31E2-4ABE-BB94-6CC89A3FD7F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11939222" sldId="2147485272"/>
              <ac:spMk id="17" creationId="{F0AC0C8B-24FF-433E-9C4D-B350C449B331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311939222" sldId="2147485272"/>
              <ac:spMk id="18" creationId="{2293604D-A39C-4151-970A-A0EBEBFE9FBE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505814235" sldId="2147485273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05814235" sldId="2147485273"/>
              <ac:spMk id="2" creationId="{C6845480-75B4-4B86-F67E-4E72A366232F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05814235" sldId="2147485273"/>
              <ac:spMk id="3" creationId="{1703231E-4063-4D72-A4F3-5BF19050C30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505814235" sldId="2147485273"/>
              <ac:spMk id="5" creationId="{0E9919A9-E10C-40B2-4E9E-9822C6505A93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016247951" sldId="2147485274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016247951" sldId="2147485274"/>
              <ac:spMk id="2" creationId="{88B6D4E6-07B9-1C8D-69DD-712BC77D3CDE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016247951" sldId="2147485274"/>
              <ac:spMk id="3" creationId="{1703231E-4063-4D72-A4F3-5BF19050C30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016247951" sldId="2147485274"/>
              <ac:spMk id="14" creationId="{C9D3931C-344A-A16B-9670-84E2DE4A2AED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543116213" sldId="2147485275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" creationId="{24ADF9F4-0984-90BB-D24E-468E60FF06E5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3" creationId="{63AACEFD-B915-0A46-F0D5-18898F9C42EA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4" creationId="{40929D50-022D-171B-E0D9-189219148AF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5" creationId="{55252DD7-7237-AE6F-A768-127C2A883C8D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6" creationId="{254F9465-CEA1-9BEA-65BC-07DE517E4AC6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7" creationId="{BC1BCF32-98B4-EADC-44D5-5CEA9370945E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8" creationId="{29DEB166-4C7E-A020-1149-92ACB95FF7D1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15" creationId="{A81DA3D4-EF88-48E1-A722-44D4D0FA10B6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16" creationId="{41154020-330A-4307-8B18-1E1750724F8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0" creationId="{71613F17-97E2-4491-9EF3-F01FFDE6E86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1" creationId="{6F22912B-7D36-4077-8BFB-FDA6B7BA0EA9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4" creationId="{4ACD92D7-D8E5-4F1B-8FF3-A92BC817BD5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5" creationId="{459EAA34-4CBD-4836-8FB9-E4972A4D470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7" creationId="{95119930-DF3D-4F95-9821-DD803BEC06B8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28" creationId="{F1EC47F3-3364-4097-9549-A48AAC2F5219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30" creationId="{8BC3BB59-8297-4139-8EEB-7AA6A362059C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31" creationId="{3539E75B-AA24-4E49-B21A-8AAB8E62C410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33" creationId="{3F21806D-0731-464D-A660-3F50C5CAF670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543116213" sldId="2147485275"/>
              <ac:spMk id="34" creationId="{E534BACD-3BA5-4149-ABE3-6C66E16EC23C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932852051" sldId="2147485276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932852051" sldId="2147485276"/>
              <ac:spMk id="2" creationId="{B024DFEA-2014-1751-E480-8A66CDCDA552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107315333" sldId="2147485277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107315333" sldId="2147485277"/>
              <ac:spMk id="2" creationId="{B66D97C3-1B7F-5C9F-E63F-96F1A14B625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107315333" sldId="2147485277"/>
              <ac:spMk id="6" creationId="{D0EB7A7D-8D5E-F9FC-C8D3-285DE34876F7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088458652" sldId="2147485278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088458652" sldId="2147485278"/>
              <ac:spMk id="4" creationId="{BFBDEA92-538F-3B81-D73E-A3E28F80C016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3793079995" sldId="2147485279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793079995" sldId="2147485279"/>
              <ac:spMk id="3" creationId="{6838E746-8C0D-4144-AC8E-FA9CF117C22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3793079995" sldId="2147485279"/>
              <ac:spMk id="4" creationId="{F9C24E1D-7E68-48BF-A685-1162607AF1FE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160596484" sldId="2147485280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160596484" sldId="2147485280"/>
              <ac:spMk id="3" creationId="{6838E746-8C0D-4144-AC8E-FA9CF117C22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160596484" sldId="2147485280"/>
              <ac:spMk id="4" creationId="{A8B69072-8F91-57EB-1C5E-B1807F844055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4009038299" sldId="2147485281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4009038299" sldId="2147485281"/>
              <ac:spMk id="4" creationId="{6953A8D2-20EB-4DFB-893E-8DCA6475DEE1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4009038299" sldId="2147485281"/>
              <ac:spMk id="21" creationId="{04EB49EF-74A2-4A31-99CF-80E2BAF35EC6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762020399" sldId="2147485282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62020399" sldId="2147485282"/>
              <ac:spMk id="4" creationId="{6953A8D2-20EB-4DFB-893E-8DCA6475DEE1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62020399" sldId="2147485282"/>
              <ac:spMk id="21" creationId="{04EB49EF-74A2-4A31-99CF-80E2BAF35EC6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601245579" sldId="2147485283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2" creationId="{855C23FA-A39C-47E2-B32E-D31B7F81F736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7" creationId="{3BF07BEC-475C-D95A-2313-6FF423D6911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8" creationId="{4812F4A0-FD3C-1B4E-7C0D-A6CD56FB0F3F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9" creationId="{1CF5EC94-06CC-02DF-99F1-D843B6EC5EE0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23" creationId="{8933E780-68DF-AEFF-FB64-64A8AC3BC8DB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27" creationId="{30E98F8F-3061-8682-1A3F-E78E0C8D3F9E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601245579" sldId="2147485283"/>
              <ac:spMk id="32" creationId="{60835E92-0DA1-DBA3-87F3-D6CA2B63B035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742390543" sldId="2147485284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42390543" sldId="2147485284"/>
              <ac:spMk id="3" creationId="{1703231E-4063-4D72-A4F3-5BF19050C30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42390543" sldId="2147485284"/>
              <ac:spMk id="7" creationId="{B80FCDC1-4ADD-40AF-8A4F-44573B1258DA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742390543" sldId="2147485284"/>
              <ac:spMk id="10" creationId="{58EBDB8A-A132-411F-B6B9-59DC085B79E1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976942767" sldId="2147485285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976942767" sldId="2147485285"/>
              <ac:spMk id="7" creationId="{65919DFD-5216-47CC-A2D5-A0B970BE963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976942767" sldId="2147485285"/>
              <ac:spMk id="8" creationId="{FEFA78C8-BF85-C18D-67D3-7D18DF4C9A08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976942767" sldId="2147485285"/>
              <ac:spMk id="15" creationId="{E15FE5BE-74FF-2205-1A8F-C1AA45D1D844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1901386882" sldId="2147485286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901386882" sldId="2147485286"/>
              <ac:spMk id="2" creationId="{88DD43FA-3336-4415-A3A6-54EA3C9BB987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901386882" sldId="2147485286"/>
              <ac:spMk id="7" creationId="{65919DFD-5216-47CC-A2D5-A0B970BE963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1901386882" sldId="2147485286"/>
              <ac:spMk id="8" creationId="{D01481FF-ECD9-985C-6949-42B804BF01D0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351661382" sldId="2147485287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351661382" sldId="2147485287"/>
              <ac:spMk id="4" creationId="{81C028A4-1CB4-EB71-790E-1C2A8CEDAED4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351661382" sldId="2147485287"/>
              <ac:spMk id="7" creationId="{65919DFD-5216-47CC-A2D5-A0B970BE9632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351661382" sldId="2147485287"/>
              <ac:spMk id="8" creationId="{F20073CF-87BF-427F-936A-47B5E1B160CF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664582963" sldId="2147485288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664582963" sldId="2147485288"/>
              <ac:spMk id="2" creationId="{C18B1008-691B-2905-EF01-F1E5DA88F07C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664582963" sldId="2147485288"/>
              <ac:spMk id="8" creationId="{D5A52833-39E6-9C79-CAB3-DC23900DC75F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2136151004" sldId="2147485289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136151004" sldId="2147485289"/>
              <ac:spMk id="3" creationId="{1703231E-4063-4D72-A4F3-5BF19050C303}"/>
            </ac:spMkLst>
          </pc:spChg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2136151004" sldId="2147485289"/>
              <ac:spMk id="4" creationId="{471609AF-5375-B754-F2E7-A839AEF1CF79}"/>
            </ac:spMkLst>
          </pc:spChg>
        </pc:sldLayoutChg>
        <pc:sldLayoutChg chg="modSp mod ord">
          <pc:chgData name="Darrell Bricker" userId="fb9a1de1-af3b-499e-b601-fe4e0e028be5" providerId="ADAL" clId="{8BD9ABB2-5DDC-4BD8-A8BE-C628EBB1D90D}" dt="2025-02-05T21:35:46.207" v="3"/>
          <pc:sldLayoutMkLst>
            <pc:docMk/>
            <pc:sldMasterMk cId="2152739482" sldId="2147484392"/>
            <pc:sldLayoutMk cId="4141475123" sldId="2147485290"/>
          </pc:sldLayoutMkLst>
          <pc:spChg chg="mod">
            <ac:chgData name="Darrell Bricker" userId="fb9a1de1-af3b-499e-b601-fe4e0e028be5" providerId="ADAL" clId="{8BD9ABB2-5DDC-4BD8-A8BE-C628EBB1D90D}" dt="2025-02-05T21:35:46.207" v="3"/>
            <ac:spMkLst>
              <pc:docMk/>
              <pc:sldMasterMk cId="2152739482" sldId="2147484392"/>
              <pc:sldLayoutMk cId="4141475123" sldId="2147485290"/>
              <ac:spMk id="2" creationId="{63011884-C2D5-14CD-9848-37C5CB013EB4}"/>
            </ac:spMkLst>
          </pc:spChg>
        </pc:sldLayoutChg>
      </pc:sldMasterChg>
      <pc:sldMasterChg chg="modSldLayout">
        <pc:chgData name="Darrell Bricker" userId="fb9a1de1-af3b-499e-b601-fe4e0e028be5" providerId="ADAL" clId="{8BD9ABB2-5DDC-4BD8-A8BE-C628EBB1D90D}" dt="2025-02-06T15:39:17.664" v="639" actId="478"/>
        <pc:sldMasterMkLst>
          <pc:docMk/>
          <pc:sldMasterMk cId="3758903197" sldId="2147484477"/>
        </pc:sldMasterMkLst>
        <pc:sldLayoutChg chg="delSp mod">
          <pc:chgData name="Darrell Bricker" userId="fb9a1de1-af3b-499e-b601-fe4e0e028be5" providerId="ADAL" clId="{8BD9ABB2-5DDC-4BD8-A8BE-C628EBB1D90D}" dt="2025-02-06T15:39:17.664" v="639" actId="478"/>
          <pc:sldLayoutMkLst>
            <pc:docMk/>
            <pc:sldMasterMk cId="3758903197" sldId="2147484477"/>
            <pc:sldLayoutMk cId="4144993773" sldId="2147484529"/>
          </pc:sldLayoutMkLst>
          <pc:spChg chg="del">
            <ac:chgData name="Darrell Bricker" userId="fb9a1de1-af3b-499e-b601-fe4e0e028be5" providerId="ADAL" clId="{8BD9ABB2-5DDC-4BD8-A8BE-C628EBB1D90D}" dt="2025-02-06T15:39:13.747" v="638" actId="478"/>
            <ac:spMkLst>
              <pc:docMk/>
              <pc:sldMasterMk cId="3758903197" sldId="2147484477"/>
              <pc:sldLayoutMk cId="4144993773" sldId="2147484529"/>
              <ac:spMk id="9" creationId="{117D3991-82D5-4923-813E-6007EFC65ED8}"/>
            </ac:spMkLst>
          </pc:spChg>
          <pc:spChg chg="del">
            <ac:chgData name="Darrell Bricker" userId="fb9a1de1-af3b-499e-b601-fe4e0e028be5" providerId="ADAL" clId="{8BD9ABB2-5DDC-4BD8-A8BE-C628EBB1D90D}" dt="2025-02-06T15:39:17.664" v="639" actId="478"/>
            <ac:spMkLst>
              <pc:docMk/>
              <pc:sldMasterMk cId="3758903197" sldId="2147484477"/>
              <pc:sldLayoutMk cId="4144993773" sldId="2147484529"/>
              <ac:spMk id="11" creationId="{2E3BBFF9-605D-4045-AFCA-0630CAF62903}"/>
            </ac:spMkLst>
          </pc:spChg>
        </pc:sldLayoutChg>
      </pc:sldMasterChg>
      <pc:sldMasterChg chg="del delSldLayout">
        <pc:chgData name="Darrell Bricker" userId="fb9a1de1-af3b-499e-b601-fe4e0e028be5" providerId="ADAL" clId="{8BD9ABB2-5DDC-4BD8-A8BE-C628EBB1D90D}" dt="2025-02-05T21:57:53.812" v="340" actId="47"/>
        <pc:sldMasterMkLst>
          <pc:docMk/>
          <pc:sldMasterMk cId="821180747" sldId="2147484811"/>
        </pc:sldMasterMkLst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921205125" sldId="214748481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909780731" sldId="214748481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610631583" sldId="214748481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54541221" sldId="214748481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158805587" sldId="214748481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930291223" sldId="214748481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50081457" sldId="214748481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833876368" sldId="214748481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810286492" sldId="214748482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09178018" sldId="214748482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320571558" sldId="214748482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374296147" sldId="214748482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983194603" sldId="214748482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989456875" sldId="214748482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789756640" sldId="214748482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27485685" sldId="214748482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170606273" sldId="214748482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923738394" sldId="214748482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18587307" sldId="214748483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922030429" sldId="214748483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075060166" sldId="214748483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9541420" sldId="214748483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843726656" sldId="214748483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073265588" sldId="214748483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268585291" sldId="214748483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985458265" sldId="214748483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7534521" sldId="214748483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715978147" sldId="214748483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539167479" sldId="214748484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191954610" sldId="214748484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133848199" sldId="214748484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252529519" sldId="214748484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647249653" sldId="214748484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155119716" sldId="214748484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718447536" sldId="214748484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694961753" sldId="214748484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709553492" sldId="214748484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57220144" sldId="214748484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674127925" sldId="214748485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741569468" sldId="214748485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703178386" sldId="214748485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729513537" sldId="214748485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658392531" sldId="214748485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55619924" sldId="214748485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20824463" sldId="214748485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666376980" sldId="214748485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890491002" sldId="214748485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658887635" sldId="214748485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115125337" sldId="214748486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0760861" sldId="214748486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72791839" sldId="214748486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225757332" sldId="214748486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770124620" sldId="214748486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934437502" sldId="214748486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459648272" sldId="214748486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383760482" sldId="214748486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956066705" sldId="214748486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993360997" sldId="214748486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056154743" sldId="214748487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620412632" sldId="214748487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504400234" sldId="214748487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963075053" sldId="214748487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176509270" sldId="214748487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44665630" sldId="214748487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692693636" sldId="214748487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339917001" sldId="214748487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586066319" sldId="214748487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56862348" sldId="214748487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79680485" sldId="214748488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22744107" sldId="214748488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077444639" sldId="214748488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602436970" sldId="214748488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326827988" sldId="214748488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292246464" sldId="214748488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547248591" sldId="214748488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290973467" sldId="214748488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045538246" sldId="214748488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149993481" sldId="214748488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007249595" sldId="214748489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983100970" sldId="214748489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887285869" sldId="214748489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312765196" sldId="214748489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524563498" sldId="2147484894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636850157" sldId="2147484895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44186543" sldId="2147484896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79780117" sldId="2147484897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258437084" sldId="2147484898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515050326" sldId="2147484899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4192875555" sldId="2147484900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1867873183" sldId="2147484901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815243107" sldId="2147484902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3339473553" sldId="2147484903"/>
          </pc:sldLayoutMkLst>
        </pc:sldLayoutChg>
        <pc:sldLayoutChg chg="del">
          <pc:chgData name="Darrell Bricker" userId="fb9a1de1-af3b-499e-b601-fe4e0e028be5" providerId="ADAL" clId="{8BD9ABB2-5DDC-4BD8-A8BE-C628EBB1D90D}" dt="2025-02-05T21:57:53.812" v="340" actId="47"/>
          <pc:sldLayoutMkLst>
            <pc:docMk/>
            <pc:sldMasterMk cId="821180747" sldId="2147484811"/>
            <pc:sldLayoutMk cId="2471628262" sldId="2147484904"/>
          </pc:sldLayoutMkLst>
        </pc:sldLayoutChg>
      </pc:sldMasterChg>
      <pc:sldMasterChg chg="modSldLayout">
        <pc:chgData name="Darrell Bricker" userId="fb9a1de1-af3b-499e-b601-fe4e0e028be5" providerId="ADAL" clId="{8BD9ABB2-5DDC-4BD8-A8BE-C628EBB1D90D}" dt="2025-02-06T15:40:58.561" v="645" actId="478"/>
        <pc:sldMasterMkLst>
          <pc:docMk/>
          <pc:sldMasterMk cId="754425756" sldId="2147485163"/>
        </pc:sldMasterMkLst>
        <pc:sldLayoutChg chg="delSp mod">
          <pc:chgData name="Darrell Bricker" userId="fb9a1de1-af3b-499e-b601-fe4e0e028be5" providerId="ADAL" clId="{8BD9ABB2-5DDC-4BD8-A8BE-C628EBB1D90D}" dt="2025-02-06T15:40:58.561" v="645" actId="478"/>
          <pc:sldLayoutMkLst>
            <pc:docMk/>
            <pc:sldMasterMk cId="754425756" sldId="2147485163"/>
            <pc:sldLayoutMk cId="3626599832" sldId="2147485246"/>
          </pc:sldLayoutMkLst>
          <pc:spChg chg="del">
            <ac:chgData name="Darrell Bricker" userId="fb9a1de1-af3b-499e-b601-fe4e0e028be5" providerId="ADAL" clId="{8BD9ABB2-5DDC-4BD8-A8BE-C628EBB1D90D}" dt="2025-02-06T15:40:58.561" v="645" actId="478"/>
            <ac:spMkLst>
              <pc:docMk/>
              <pc:sldMasterMk cId="754425756" sldId="2147485163"/>
              <pc:sldLayoutMk cId="3626599832" sldId="2147485246"/>
              <ac:spMk id="9" creationId="{7C0063D2-D9CA-443F-8ADD-8084E6CAF018}"/>
            </ac:spMkLst>
          </pc:spChg>
          <pc:spChg chg="del">
            <ac:chgData name="Darrell Bricker" userId="fb9a1de1-af3b-499e-b601-fe4e0e028be5" providerId="ADAL" clId="{8BD9ABB2-5DDC-4BD8-A8BE-C628EBB1D90D}" dt="2025-02-06T15:40:53.956" v="644" actId="478"/>
            <ac:spMkLst>
              <pc:docMk/>
              <pc:sldMasterMk cId="754425756" sldId="2147485163"/>
              <pc:sldLayoutMk cId="3626599832" sldId="2147485246"/>
              <ac:spMk id="11" creationId="{1DA3D5A4-C7A8-4D4E-87EB-5E1B79842736}"/>
            </ac:spMkLst>
          </pc:spChg>
        </pc:sldLayoutChg>
        <pc:sldLayoutChg chg="delSp modSp mod">
          <pc:chgData name="Darrell Bricker" userId="fb9a1de1-af3b-499e-b601-fe4e0e028be5" providerId="ADAL" clId="{8BD9ABB2-5DDC-4BD8-A8BE-C628EBB1D90D}" dt="2025-02-06T15:40:32.749" v="643" actId="1076"/>
          <pc:sldLayoutMkLst>
            <pc:docMk/>
            <pc:sldMasterMk cId="754425756" sldId="2147485163"/>
            <pc:sldLayoutMk cId="189483298" sldId="2147485251"/>
          </pc:sldLayoutMkLst>
          <pc:spChg chg="del">
            <ac:chgData name="Darrell Bricker" userId="fb9a1de1-af3b-499e-b601-fe4e0e028be5" providerId="ADAL" clId="{8BD9ABB2-5DDC-4BD8-A8BE-C628EBB1D90D}" dt="2025-02-06T15:40:29.997" v="642" actId="478"/>
            <ac:spMkLst>
              <pc:docMk/>
              <pc:sldMasterMk cId="754425756" sldId="2147485163"/>
              <pc:sldLayoutMk cId="189483298" sldId="2147485251"/>
              <ac:spMk id="2" creationId="{B52F0521-4D9F-4207-B1DF-7BCF176045CE}"/>
            </ac:spMkLst>
          </pc:spChg>
          <pc:spChg chg="mod">
            <ac:chgData name="Darrell Bricker" userId="fb9a1de1-af3b-499e-b601-fe4e0e028be5" providerId="ADAL" clId="{8BD9ABB2-5DDC-4BD8-A8BE-C628EBB1D90D}" dt="2025-02-06T15:40:32.749" v="643" actId="1076"/>
            <ac:spMkLst>
              <pc:docMk/>
              <pc:sldMasterMk cId="754425756" sldId="2147485163"/>
              <pc:sldLayoutMk cId="189483298" sldId="2147485251"/>
              <ac:spMk id="15" creationId="{849086DD-2C7D-4896-95DA-63FF2B90DC0D}"/>
            </ac:spMkLst>
          </pc:spChg>
        </pc:sldLayoutChg>
      </pc:sldMasterChg>
      <pc:sldMasterChg chg="del sldLayoutOrd">
        <pc:chgData name="Darrell Bricker" userId="fb9a1de1-af3b-499e-b601-fe4e0e028be5" providerId="ADAL" clId="{8BD9ABB2-5DDC-4BD8-A8BE-C628EBB1D90D}" dt="2025-02-05T21:35:46.393" v="4"/>
        <pc:sldMasterMkLst>
          <pc:docMk/>
          <pc:sldMasterMk cId="212991732" sldId="2147485257"/>
        </pc:sldMasterMkLst>
      </pc:sldMasterChg>
      <pc:sldMasterChg chg="modSldLayout">
        <pc:chgData name="Darrell Bricker" userId="fb9a1de1-af3b-499e-b601-fe4e0e028be5" providerId="ADAL" clId="{8BD9ABB2-5DDC-4BD8-A8BE-C628EBB1D90D}" dt="2025-02-06T15:38:43.983" v="637" actId="478"/>
        <pc:sldMasterMkLst>
          <pc:docMk/>
          <pc:sldMasterMk cId="27371723" sldId="2147485305"/>
        </pc:sldMasterMkLst>
        <pc:sldLayoutChg chg="delSp mod">
          <pc:chgData name="Darrell Bricker" userId="fb9a1de1-af3b-499e-b601-fe4e0e028be5" providerId="ADAL" clId="{8BD9ABB2-5DDC-4BD8-A8BE-C628EBB1D90D}" dt="2025-02-06T15:38:43.983" v="637" actId="478"/>
          <pc:sldLayoutMkLst>
            <pc:docMk/>
            <pc:sldMasterMk cId="27371723" sldId="2147485305"/>
            <pc:sldLayoutMk cId="3980675379" sldId="2147485361"/>
          </pc:sldLayoutMkLst>
          <pc:spChg chg="del">
            <ac:chgData name="Darrell Bricker" userId="fb9a1de1-af3b-499e-b601-fe4e0e028be5" providerId="ADAL" clId="{8BD9ABB2-5DDC-4BD8-A8BE-C628EBB1D90D}" dt="2025-02-06T15:38:39.397" v="636" actId="478"/>
            <ac:spMkLst>
              <pc:docMk/>
              <pc:sldMasterMk cId="27371723" sldId="2147485305"/>
              <pc:sldLayoutMk cId="3980675379" sldId="2147485361"/>
              <ac:spMk id="9" creationId="{117D3991-82D5-4923-813E-6007EFC65ED8}"/>
            </ac:spMkLst>
          </pc:spChg>
          <pc:spChg chg="del">
            <ac:chgData name="Darrell Bricker" userId="fb9a1de1-af3b-499e-b601-fe4e0e028be5" providerId="ADAL" clId="{8BD9ABB2-5DDC-4BD8-A8BE-C628EBB1D90D}" dt="2025-02-06T15:38:43.983" v="637" actId="478"/>
            <ac:spMkLst>
              <pc:docMk/>
              <pc:sldMasterMk cId="27371723" sldId="2147485305"/>
              <pc:sldLayoutMk cId="3980675379" sldId="2147485361"/>
              <ac:spMk id="11" creationId="{2E3BBFF9-605D-4045-AFCA-0630CAF62903}"/>
            </ac:spMkLst>
          </pc:spChg>
        </pc:sldLayoutChg>
      </pc:sldMasterChg>
      <pc:sldMasterChg chg="new mod addSldLayout">
        <pc:chgData name="Darrell Bricker" userId="fb9a1de1-af3b-499e-b601-fe4e0e028be5" providerId="ADAL" clId="{8BD9ABB2-5DDC-4BD8-A8BE-C628EBB1D90D}" dt="2025-02-06T15:35:34.525" v="620" actId="6938"/>
        <pc:sldMasterMkLst>
          <pc:docMk/>
          <pc:sldMasterMk cId="2577747826" sldId="2147485399"/>
        </pc:sldMasterMkLst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1100425026" sldId="2147485400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388807673" sldId="2147485401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2666709904" sldId="2147485402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2624232074" sldId="2147485403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1089374535" sldId="2147485404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2782824061" sldId="2147485405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340430380" sldId="2147485406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3296751995" sldId="2147485407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2280958139" sldId="2147485408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3569422900" sldId="2147485409"/>
          </pc:sldLayoutMkLst>
        </pc:sldLayoutChg>
        <pc:sldLayoutChg chg="new replId">
          <pc:chgData name="Darrell Bricker" userId="fb9a1de1-af3b-499e-b601-fe4e0e028be5" providerId="ADAL" clId="{8BD9ABB2-5DDC-4BD8-A8BE-C628EBB1D90D}" dt="2025-02-06T15:35:34.525" v="620" actId="6938"/>
          <pc:sldLayoutMkLst>
            <pc:docMk/>
            <pc:sldMasterMk cId="2577747826" sldId="2147485399"/>
            <pc:sldLayoutMk cId="731270095" sldId="214748541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2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3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4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307927183840824E-4"/>
          <c:y val="5.2587355209588162E-2"/>
          <c:w val="0.99836914751910644"/>
          <c:h val="0.947412644790411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585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103C50">
                  <a:lumMod val="10000"/>
                  <a:lumOff val="9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1-36E4-BD4F-8426-A04AAD0A7E8B}"/>
              </c:ext>
            </c:extLst>
          </c:dPt>
          <c:dPt>
            <c:idx val="1"/>
            <c:invertIfNegative val="0"/>
            <c:bubble3D val="0"/>
            <c:spPr>
              <a:solidFill>
                <a:srgbClr val="103C50"/>
              </a:solidFill>
            </c:spPr>
            <c:extLst>
              <c:ext xmlns:c16="http://schemas.microsoft.com/office/drawing/2014/chart" uri="{C3380CC4-5D6E-409C-BE32-E72D297353CC}">
                <c16:uniqueId val="{00000003-36E4-BD4F-8426-A04AAD0A7E8B}"/>
              </c:ext>
            </c:extLst>
          </c:dPt>
          <c:dPt>
            <c:idx val="2"/>
            <c:invertIfNegative val="0"/>
            <c:bubble3D val="0"/>
            <c:spPr>
              <a:solidFill>
                <a:srgbClr val="103C50">
                  <a:lumMod val="25000"/>
                  <a:lumOff val="75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5-36E4-BD4F-8426-A04AAD0A7E8B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36E4-BD4F-8426-A04AAD0A7E8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AE1E5F1-3BF6-6D44-A1A7-8BFBD40F0098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6E4-BD4F-8426-A04AAD0A7E8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5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6E4-BD4F-8426-A04AAD0A7E8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0" i="0" dirty="0">
                        <a:solidFill>
                          <a:schemeClr val="tx1"/>
                        </a:solidFill>
                        <a:latin typeface="Barlow" pitchFamily="2" charset="77"/>
                      </a:rPr>
                      <a:t>6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6E4-BD4F-8426-A04AAD0A7E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solidFill>
                      <a:schemeClr val="tx1"/>
                    </a:solidFill>
                    <a:latin typeface="Barlow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3</c:v>
                </c:pt>
                <c:pt idx="2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3"/>
                <c:pt idx="0">
                  <c:v>34</c:v>
                </c:pt>
                <c:pt idx="1">
                  <c:v>54</c:v>
                </c:pt>
                <c:pt idx="2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E4-BD4F-8426-A04AAD0A7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2011812496"/>
        <c:axId val="-1987733312"/>
      </c:barChart>
      <c:catAx>
        <c:axId val="-20118124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-1987733312"/>
        <c:crosses val="autoZero"/>
        <c:auto val="1"/>
        <c:lblAlgn val="ctr"/>
        <c:lblOffset val="100"/>
        <c:noMultiLvlLbl val="0"/>
      </c:catAx>
      <c:valAx>
        <c:axId val="-19877333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118124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 strike="noStrike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</c:v>
                </c:pt>
              </c:strCache>
            </c:strRef>
          </c:tx>
          <c:spPr>
            <a:ln w="38100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1951</c:v>
                </c:pt>
                <c:pt idx="1">
                  <c:v>1961</c:v>
                </c:pt>
                <c:pt idx="2">
                  <c:v>1971</c:v>
                </c:pt>
                <c:pt idx="3">
                  <c:v>1981</c:v>
                </c:pt>
                <c:pt idx="4">
                  <c:v>1991</c:v>
                </c:pt>
                <c:pt idx="5">
                  <c:v>2001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14699999999999999</c:v>
                </c:pt>
                <c:pt idx="1">
                  <c:v>0.156</c:v>
                </c:pt>
                <c:pt idx="2">
                  <c:v>0.153</c:v>
                </c:pt>
                <c:pt idx="3">
                  <c:v>0.16</c:v>
                </c:pt>
                <c:pt idx="4">
                  <c:v>0.161</c:v>
                </c:pt>
                <c:pt idx="5">
                  <c:v>0.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D8-6745-B033-4977F009E27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42127087"/>
        <c:axId val="113139887"/>
      </c:lineChart>
      <c:catAx>
        <c:axId val="42127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139887"/>
        <c:crosses val="autoZero"/>
        <c:auto val="1"/>
        <c:lblAlgn val="ctr"/>
        <c:lblOffset val="100"/>
        <c:noMultiLvlLbl val="0"/>
      </c:catAx>
      <c:valAx>
        <c:axId val="113139887"/>
        <c:scaling>
          <c:orientation val="minMax"/>
          <c:max val="0.24"/>
          <c:min val="0.14000000000000001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27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003951235009135"/>
          <c:y val="0"/>
          <c:w val="0.7722224207767453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70</c:v>
                </c:pt>
              </c:strCache>
            </c:strRef>
          </c:tx>
          <c:spPr>
            <a:solidFill>
              <a:srgbClr val="103C50">
                <a:lumMod val="10000"/>
                <a:lumOff val="90000"/>
              </a:srgbClr>
            </a:solidFill>
            <a:ln w="12700">
              <a:noFill/>
            </a:ln>
          </c:spPr>
          <c:invertIfNegative val="0"/>
          <c:dLbls>
            <c:dLbl>
              <c:idx val="0"/>
              <c:layout>
                <c:manualLayout>
                  <c:x val="-6.733049815565327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6F-C343-8FBE-4912B0808CE1}"/>
                </c:ext>
              </c:extLst>
            </c:dLbl>
            <c:dLbl>
              <c:idx val="1"/>
              <c:layout>
                <c:manualLayout>
                  <c:x val="-6.7330498155652018E-3"/>
                  <c:y val="2.000783052692294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6F-C343-8FBE-4912B0808CE1}"/>
                </c:ext>
              </c:extLst>
            </c:dLbl>
            <c:dLbl>
              <c:idx val="2"/>
              <c:layout>
                <c:manualLayout>
                  <c:x val="1.5511940126080616E-4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6F-C343-8FBE-4912B0808CE1}"/>
                </c:ext>
              </c:extLst>
            </c:dLbl>
            <c:dLbl>
              <c:idx val="3"/>
              <c:layout>
                <c:manualLayout>
                  <c:x val="-1.458556272274685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6F-C343-8FBE-4912B0808CE1}"/>
                </c:ext>
              </c:extLst>
            </c:dLbl>
            <c:dLbl>
              <c:idx val="4"/>
              <c:layout>
                <c:manualLayout>
                  <c:x val="-1.7727544161571501E-3"/>
                  <c:y val="8.003132210769176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56F-C343-8FBE-4912B0808CE1}"/>
                </c:ext>
              </c:extLst>
            </c:dLbl>
            <c:dLbl>
              <c:idx val="5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6F-C343-8FBE-4912B0808CE1}"/>
                </c:ext>
              </c:extLst>
            </c:dLbl>
            <c:dLbl>
              <c:idx val="6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56F-C343-8FBE-4912B0808CE1}"/>
                </c:ext>
              </c:extLst>
            </c:dLbl>
            <c:dLbl>
              <c:idx val="7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56F-C343-8FBE-4912B0808CE1}"/>
                </c:ext>
              </c:extLst>
            </c:dLbl>
            <c:dLbl>
              <c:idx val="8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56F-C343-8FBE-4912B0808CE1}"/>
                </c:ext>
              </c:extLst>
            </c:dLbl>
            <c:dLbl>
              <c:idx val="9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56F-C343-8FBE-4912B0808C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baseline="0">
                    <a:solidFill>
                      <a:srgbClr val="000000"/>
                    </a:solidFill>
                    <a:latin typeface="Barlow" pitchFamily="2" charset="77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.K.</c:v>
                </c:pt>
                <c:pt idx="1">
                  <c:v>U.S.</c:v>
                </c:pt>
                <c:pt idx="2">
                  <c:v>West Indies</c:v>
                </c:pt>
                <c:pt idx="3">
                  <c:v>Italy</c:v>
                </c:pt>
                <c:pt idx="4">
                  <c:v>Portugal</c:v>
                </c:pt>
                <c:pt idx="5">
                  <c:v>Greece</c:v>
                </c:pt>
                <c:pt idx="6">
                  <c:v>Yugoslavia</c:v>
                </c:pt>
                <c:pt idx="7">
                  <c:v>India</c:v>
                </c:pt>
                <c:pt idx="8">
                  <c:v>China</c:v>
                </c:pt>
                <c:pt idx="9">
                  <c:v>France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26497</c:v>
                </c:pt>
                <c:pt idx="1">
                  <c:v>24424</c:v>
                </c:pt>
                <c:pt idx="2">
                  <c:v>12456</c:v>
                </c:pt>
                <c:pt idx="3">
                  <c:v>8533</c:v>
                </c:pt>
                <c:pt idx="4">
                  <c:v>7902</c:v>
                </c:pt>
                <c:pt idx="5">
                  <c:v>6327</c:v>
                </c:pt>
                <c:pt idx="6">
                  <c:v>5672</c:v>
                </c:pt>
                <c:pt idx="7">
                  <c:v>5670</c:v>
                </c:pt>
                <c:pt idx="8">
                  <c:v>5377</c:v>
                </c:pt>
                <c:pt idx="9">
                  <c:v>4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56F-C343-8FBE-4912B0808C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1982189568"/>
        <c:axId val="-1985585184"/>
      </c:barChart>
      <c:catAx>
        <c:axId val="-198218956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="0" i="0" baseline="0">
                <a:solidFill>
                  <a:srgbClr val="000000"/>
                </a:solidFill>
                <a:latin typeface="Barlow" pitchFamily="2" charset="77"/>
                <a:ea typeface="Arial" charset="0"/>
                <a:cs typeface="Arial" charset="0"/>
              </a:defRPr>
            </a:pPr>
            <a:endParaRPr lang="en-US"/>
          </a:p>
        </c:txPr>
        <c:crossAx val="-1985585184"/>
        <c:crosses val="autoZero"/>
        <c:auto val="1"/>
        <c:lblAlgn val="ctr"/>
        <c:lblOffset val="25"/>
        <c:noMultiLvlLbl val="0"/>
      </c:catAx>
      <c:valAx>
        <c:axId val="-1985585184"/>
        <c:scaling>
          <c:orientation val="minMax"/>
          <c:max val="150000"/>
        </c:scaling>
        <c:delete val="1"/>
        <c:axPos val="t"/>
        <c:numFmt formatCode="#,##0" sourceLinked="1"/>
        <c:majorTickMark val="out"/>
        <c:minorTickMark val="none"/>
        <c:tickLblPos val="none"/>
        <c:crossAx val="-1982189568"/>
        <c:crosses val="autoZero"/>
        <c:crossBetween val="between"/>
      </c:valAx>
      <c:spPr>
        <a:noFill/>
        <a:ln w="25387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518624414264158"/>
          <c:y val="1.5448754576429023E-3"/>
          <c:w val="0.68765308553728854"/>
          <c:h val="0.996910249084714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103C50"/>
            </a:solidFill>
            <a:ln>
              <a:noFill/>
            </a:ln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9FD89BC1-54F7-4049-85C8-0598016B984B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32B-544B-ACCD-512098DFCA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baseline="0">
                    <a:solidFill>
                      <a:schemeClr val="tx1"/>
                    </a:solidFill>
                    <a:latin typeface="Barlow" pitchFamily="2" charset="77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India</c:v>
                </c:pt>
                <c:pt idx="1">
                  <c:v>China</c:v>
                </c:pt>
                <c:pt idx="2">
                  <c:v>Phillipines</c:v>
                </c:pt>
                <c:pt idx="3">
                  <c:v>Afghanistan</c:v>
                </c:pt>
                <c:pt idx="4">
                  <c:v>Nigeria</c:v>
                </c:pt>
                <c:pt idx="5">
                  <c:v>Pakistan</c:v>
                </c:pt>
                <c:pt idx="6">
                  <c:v>Iran</c:v>
                </c:pt>
                <c:pt idx="7">
                  <c:v>USA</c:v>
                </c:pt>
                <c:pt idx="8">
                  <c:v>Cameroon</c:v>
                </c:pt>
                <c:pt idx="9">
                  <c:v>France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139715</c:v>
                </c:pt>
                <c:pt idx="1">
                  <c:v>31770</c:v>
                </c:pt>
                <c:pt idx="2">
                  <c:v>26945</c:v>
                </c:pt>
                <c:pt idx="3">
                  <c:v>20165</c:v>
                </c:pt>
                <c:pt idx="4">
                  <c:v>17445</c:v>
                </c:pt>
                <c:pt idx="5">
                  <c:v>11500</c:v>
                </c:pt>
                <c:pt idx="6">
                  <c:v>11105</c:v>
                </c:pt>
                <c:pt idx="7">
                  <c:v>10400</c:v>
                </c:pt>
                <c:pt idx="8">
                  <c:v>8000</c:v>
                </c:pt>
                <c:pt idx="9">
                  <c:v>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2B-544B-ACCD-512098DFCA1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-1941910336"/>
        <c:axId val="-1982099536"/>
      </c:barChart>
      <c:catAx>
        <c:axId val="-19419103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="0" i="0" baseline="0">
                <a:solidFill>
                  <a:srgbClr val="000000"/>
                </a:solidFill>
                <a:latin typeface="Barlow" pitchFamily="2" charset="77"/>
                <a:ea typeface="Arial" charset="0"/>
                <a:cs typeface="Arial" charset="0"/>
              </a:defRPr>
            </a:pPr>
            <a:endParaRPr lang="en-US"/>
          </a:p>
        </c:txPr>
        <c:crossAx val="-1982099536"/>
        <c:crosses val="autoZero"/>
        <c:auto val="1"/>
        <c:lblAlgn val="ctr"/>
        <c:lblOffset val="25"/>
        <c:noMultiLvlLbl val="0"/>
      </c:catAx>
      <c:valAx>
        <c:axId val="-1982099536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one"/>
        <c:crossAx val="-1941910336"/>
        <c:crosses val="autoZero"/>
        <c:crossBetween val="between"/>
      </c:valAx>
      <c:spPr>
        <a:noFill/>
        <a:ln w="25387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hare of Population</c:v>
                </c:pt>
              </c:strCache>
            </c:strRef>
          </c:tx>
          <c:spPr>
            <a:solidFill>
              <a:srgbClr val="103C50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41EB718-743B-E84B-9F19-D936CB327539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15A-F24D-B8C8-56B9B24F6D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latin typeface="Barlow" pitchFamily="2" charset="77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Atlantic</c:v>
                </c:pt>
                <c:pt idx="1">
                  <c:v>Quebec</c:v>
                </c:pt>
                <c:pt idx="2">
                  <c:v>Ontario</c:v>
                </c:pt>
                <c:pt idx="3">
                  <c:v>Prairies</c:v>
                </c:pt>
                <c:pt idx="4">
                  <c:v>BC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6</c:v>
                </c:pt>
                <c:pt idx="1">
                  <c:v>0.23</c:v>
                </c:pt>
                <c:pt idx="2">
                  <c:v>0.39</c:v>
                </c:pt>
                <c:pt idx="3">
                  <c:v>0.18</c:v>
                </c:pt>
                <c:pt idx="4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5A-F24D-B8C8-56B9B24F6D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are of Immigrants</c:v>
                </c:pt>
              </c:strCache>
            </c:strRef>
          </c:tx>
          <c:spPr>
            <a:solidFill>
              <a:srgbClr val="103C50">
                <a:lumMod val="50000"/>
                <a:lumOff val="50000"/>
              </a:srgbClr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600B58C-91FC-AD48-82AD-43C923E5CFAA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715A-F24D-B8C8-56B9B24F6D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latin typeface="Barlow" pitchFamily="2" charset="77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Atlantic</c:v>
                </c:pt>
                <c:pt idx="1">
                  <c:v>Quebec</c:v>
                </c:pt>
                <c:pt idx="2">
                  <c:v>Ontario</c:v>
                </c:pt>
                <c:pt idx="3">
                  <c:v>Prairies</c:v>
                </c:pt>
                <c:pt idx="4">
                  <c:v>BC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7.0000000000000007E-2</c:v>
                </c:pt>
                <c:pt idx="1">
                  <c:v>0.16</c:v>
                </c:pt>
                <c:pt idx="2">
                  <c:v>0.42</c:v>
                </c:pt>
                <c:pt idx="3">
                  <c:v>0.21</c:v>
                </c:pt>
                <c:pt idx="4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15A-F24D-B8C8-56B9B24F6D0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-1941910336"/>
        <c:axId val="-1982099536"/>
      </c:barChart>
      <c:catAx>
        <c:axId val="-19419103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2000" b="0" i="0" baseline="0">
                <a:solidFill>
                  <a:srgbClr val="000000"/>
                </a:solidFill>
                <a:latin typeface="Barlow" pitchFamily="2" charset="77"/>
                <a:ea typeface="Arial" charset="0"/>
                <a:cs typeface="Arial" charset="0"/>
              </a:defRPr>
            </a:pPr>
            <a:endParaRPr lang="en-US"/>
          </a:p>
        </c:txPr>
        <c:crossAx val="-1982099536"/>
        <c:crosses val="autoZero"/>
        <c:auto val="1"/>
        <c:lblAlgn val="ctr"/>
        <c:lblOffset val="25"/>
        <c:noMultiLvlLbl val="0"/>
      </c:catAx>
      <c:valAx>
        <c:axId val="-198209953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one"/>
        <c:crossAx val="-1941910336"/>
        <c:crosses val="autoZero"/>
        <c:crossBetween val="between"/>
      </c:valAx>
      <c:spPr>
        <a:noFill/>
        <a:ln w="25387">
          <a:noFill/>
        </a:ln>
      </c:spPr>
    </c:plotArea>
    <c:legend>
      <c:legendPos val="t"/>
      <c:layout>
        <c:manualLayout>
          <c:xMode val="edge"/>
          <c:yMode val="edge"/>
          <c:x val="0.10675423512140406"/>
          <c:y val="1.7482521493521256E-2"/>
          <c:w val="0.45033155186064916"/>
          <c:h val="8.0828442089376978E-2"/>
        </c:manualLayout>
      </c:layout>
      <c:overlay val="0"/>
      <c:txPr>
        <a:bodyPr/>
        <a:lstStyle/>
        <a:p>
          <a:pPr>
            <a:defRPr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799"/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pulation Living in a Large Urban Area - 2011
(percent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989-4A2C-BC67-5710DCA0B75E}"/>
              </c:ext>
            </c:extLst>
          </c:dPt>
          <c:dPt>
            <c:idx val="1"/>
            <c:invertIfNegative val="0"/>
            <c:bubble3D val="0"/>
            <c:spPr>
              <a:solidFill>
                <a:srgbClr val="F1001B"/>
              </a:solidFill>
            </c:spPr>
            <c:extLst>
              <c:ext xmlns:c16="http://schemas.microsoft.com/office/drawing/2014/chart" uri="{C3380CC4-5D6E-409C-BE32-E72D297353CC}">
                <c16:uniqueId val="{00000003-7989-4A2C-BC67-5710DCA0B75E}"/>
              </c:ext>
            </c:extLst>
          </c:dPt>
          <c:dLbls>
            <c:dLbl>
              <c:idx val="0"/>
              <c:layout>
                <c:manualLayout>
                  <c:x val="0"/>
                  <c:y val="1.349299692210928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989-4A2C-BC67-5710DCA0B75E}"/>
                </c:ext>
              </c:extLst>
            </c:dLbl>
            <c:dLbl>
              <c:idx val="1"/>
              <c:layout>
                <c:manualLayout>
                  <c:x val="2.7393392671844173E-3"/>
                  <c:y val="4.047899076632785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71496765657887"/>
                      <c:h val="0.1691347164186398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7989-4A2C-BC67-5710DCA0B7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>
                    <a:latin typeface="Century Gothic" panose="020B0502020202020204" pitchFamily="34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mmigrants</c:v>
                </c:pt>
                <c:pt idx="1">
                  <c:v>Total Canadian Populatio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1</c:v>
                </c:pt>
                <c:pt idx="1">
                  <c:v>69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89-4A2C-BC67-5710DCA0B7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1"/>
        <c:overlap val="87"/>
        <c:axId val="-1980999264"/>
        <c:axId val="-1981601328"/>
      </c:barChart>
      <c:catAx>
        <c:axId val="-19809992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>
                <a:latin typeface="Century Gothic" panose="020B0502020202020204" pitchFamily="34" charset="0"/>
                <a:ea typeface="Arial" charset="0"/>
                <a:cs typeface="Arial" charset="0"/>
              </a:defRPr>
            </a:pPr>
            <a:endParaRPr lang="en-US"/>
          </a:p>
        </c:txPr>
        <c:crossAx val="-1981601328"/>
        <c:crosses val="autoZero"/>
        <c:auto val="1"/>
        <c:lblAlgn val="ctr"/>
        <c:lblOffset val="100"/>
        <c:noMultiLvlLbl val="0"/>
      </c:catAx>
      <c:valAx>
        <c:axId val="-19816013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19809992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02453157486044"/>
          <c:y val="0"/>
          <c:w val="0.7754090000020097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60</c:v>
                </c:pt>
              </c:strCache>
            </c:strRef>
          </c:tx>
          <c:spPr>
            <a:solidFill>
              <a:schemeClr val="bg2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C07-C643-826E-8E491803BD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ea typeface="Arial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Brazil</c:v>
                </c:pt>
                <c:pt idx="5">
                  <c:v>Pakistan</c:v>
                </c:pt>
                <c:pt idx="6">
                  <c:v>Nigeria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16</c:v>
                </c:pt>
                <c:pt idx="1">
                  <c:v>0.18</c:v>
                </c:pt>
                <c:pt idx="2">
                  <c:v>0.7</c:v>
                </c:pt>
                <c:pt idx="3">
                  <c:v>0.15</c:v>
                </c:pt>
                <c:pt idx="4">
                  <c:v>0.46</c:v>
                </c:pt>
                <c:pt idx="5">
                  <c:v>0.22</c:v>
                </c:pt>
                <c:pt idx="6">
                  <c:v>0.15</c:v>
                </c:pt>
                <c:pt idx="7">
                  <c:v>0.05</c:v>
                </c:pt>
                <c:pt idx="8">
                  <c:v>0.54</c:v>
                </c:pt>
                <c:pt idx="9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07-C643-826E-8E491803BD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day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 sz="1000" b="0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52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C07-C643-826E-8E491803BD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ea typeface="Arial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Brazil</c:v>
                </c:pt>
                <c:pt idx="5">
                  <c:v>Pakistan</c:v>
                </c:pt>
                <c:pt idx="6">
                  <c:v>Nigeria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0.61</c:v>
                </c:pt>
                <c:pt idx="1">
                  <c:v>0.35</c:v>
                </c:pt>
                <c:pt idx="2">
                  <c:v>0.83</c:v>
                </c:pt>
                <c:pt idx="3">
                  <c:v>0.56999999999999995</c:v>
                </c:pt>
                <c:pt idx="4">
                  <c:v>0.87</c:v>
                </c:pt>
                <c:pt idx="5">
                  <c:v>0.37</c:v>
                </c:pt>
                <c:pt idx="6">
                  <c:v>0.52</c:v>
                </c:pt>
                <c:pt idx="7">
                  <c:v>0.38</c:v>
                </c:pt>
                <c:pt idx="8">
                  <c:v>0.75</c:v>
                </c:pt>
                <c:pt idx="9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07-C643-826E-8E491803BD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50</c:v>
                </c:pt>
              </c:strCache>
            </c:strRef>
          </c:tx>
          <c:spPr>
            <a:solidFill>
              <a:schemeClr val="bg2">
                <a:lumMod val="25000"/>
                <a:lumOff val="7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Brazil</c:v>
                </c:pt>
                <c:pt idx="5">
                  <c:v>Pakistan</c:v>
                </c:pt>
                <c:pt idx="6">
                  <c:v>Nigeria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0.8</c:v>
                </c:pt>
                <c:pt idx="1">
                  <c:v>0.53</c:v>
                </c:pt>
                <c:pt idx="2">
                  <c:v>0.89</c:v>
                </c:pt>
                <c:pt idx="3">
                  <c:v>0.73</c:v>
                </c:pt>
                <c:pt idx="4">
                  <c:v>0.92</c:v>
                </c:pt>
                <c:pt idx="5">
                  <c:v>0.52</c:v>
                </c:pt>
                <c:pt idx="6">
                  <c:v>0.7</c:v>
                </c:pt>
                <c:pt idx="7">
                  <c:v>0.57999999999999996</c:v>
                </c:pt>
                <c:pt idx="8">
                  <c:v>0.83</c:v>
                </c:pt>
                <c:pt idx="9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07-C643-826E-8E491803BDD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8"/>
        <c:axId val="-1962910832"/>
        <c:axId val="-2017569696"/>
      </c:barChart>
      <c:catAx>
        <c:axId val="-196291083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="0" i="0">
                <a:solidFill>
                  <a:schemeClr val="tx1"/>
                </a:solidFill>
                <a:latin typeface="Barlow" pitchFamily="2" charset="77"/>
                <a:ea typeface="Arial" charset="0"/>
                <a:cs typeface="Arial" panose="020B0604020202020204" pitchFamily="34" charset="0"/>
              </a:defRPr>
            </a:pPr>
            <a:endParaRPr lang="en-US"/>
          </a:p>
        </c:txPr>
        <c:crossAx val="-2017569696"/>
        <c:crosses val="autoZero"/>
        <c:auto val="1"/>
        <c:lblAlgn val="ctr"/>
        <c:lblOffset val="100"/>
        <c:noMultiLvlLbl val="0"/>
      </c:catAx>
      <c:valAx>
        <c:axId val="-201756969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1962910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61</c:v>
                </c:pt>
              </c:strCache>
            </c:strRef>
          </c:tx>
          <c:spPr>
            <a:solidFill>
              <a:schemeClr val="bg2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0F0-294B-9C21-23D43A4F5C7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0F0-294B-9C21-23D43A4F5C7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0F0-294B-9C21-23D43A4F5C7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0F0-294B-9C21-23D43A4F5C7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0F0-294B-9C21-23D43A4F5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Atlantic</c:v>
                </c:pt>
                <c:pt idx="1">
                  <c:v>Quebec</c:v>
                </c:pt>
                <c:pt idx="2">
                  <c:v>Ontario</c:v>
                </c:pt>
                <c:pt idx="3">
                  <c:v>Prairies</c:v>
                </c:pt>
                <c:pt idx="4">
                  <c:v>BC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1</c:v>
                </c:pt>
                <c:pt idx="1">
                  <c:v>0.28899999999999998</c:v>
                </c:pt>
                <c:pt idx="2">
                  <c:v>0.34300000000000003</c:v>
                </c:pt>
                <c:pt idx="3">
                  <c:v>0.17499999999999999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0F0-294B-9C21-23D43A4F5C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0F0-294B-9C21-23D43A4F5C7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0F0-294B-9C21-23D43A4F5C7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0F0-294B-9C21-23D43A4F5C7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0F0-294B-9C21-23D43A4F5C7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1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D0F0-294B-9C21-23D43A4F5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Atlantic</c:v>
                </c:pt>
                <c:pt idx="1">
                  <c:v>Quebec</c:v>
                </c:pt>
                <c:pt idx="2">
                  <c:v>Ontario</c:v>
                </c:pt>
                <c:pt idx="3">
                  <c:v>Prairies</c:v>
                </c:pt>
                <c:pt idx="4">
                  <c:v>BC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7.0000000000000007E-2</c:v>
                </c:pt>
                <c:pt idx="1">
                  <c:v>0.222</c:v>
                </c:pt>
                <c:pt idx="2">
                  <c:v>0.39100000000000001</c:v>
                </c:pt>
                <c:pt idx="3">
                  <c:v>0.184</c:v>
                </c:pt>
                <c:pt idx="4">
                  <c:v>0.138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0F0-294B-9C21-23D43A4F5C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-16"/>
        <c:axId val="-1987266016"/>
        <c:axId val="-1987223136"/>
      </c:barChart>
      <c:catAx>
        <c:axId val="-198726601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87223136"/>
        <c:crosses val="autoZero"/>
        <c:auto val="1"/>
        <c:lblAlgn val="ctr"/>
        <c:lblOffset val="100"/>
        <c:noMultiLvlLbl val="0"/>
      </c:catAx>
      <c:valAx>
        <c:axId val="-1987223136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-198726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4449470612141475E-2"/>
          <c:y val="1.7251715662746619E-2"/>
          <c:w val="0.14771847072967303"/>
          <c:h val="7.87366491644011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349158221412365E-2"/>
          <c:y val="2.6646899842331883E-2"/>
          <c:w val="0.64308848047367251"/>
          <c:h val="0.9646326558719425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31-1A45-924E-BA3EC0C1B601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31-1A45-924E-BA3EC0C1B601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31-1A45-924E-BA3EC0C1B601}"/>
              </c:ext>
            </c:extLst>
          </c:dPt>
          <c:dPt>
            <c:idx val="3"/>
            <c:bubble3D val="0"/>
            <c:spPr>
              <a:solidFill>
                <a:schemeClr val="bg2">
                  <a:lumMod val="10000"/>
                  <a:lumOff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C31-1A45-924E-BA3EC0C1B60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C31-1A45-924E-BA3EC0C1B6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uto Suburbs</c:v>
                </c:pt>
                <c:pt idx="1">
                  <c:v>Transit Suburbs</c:v>
                </c:pt>
                <c:pt idx="2">
                  <c:v>Active Core</c:v>
                </c:pt>
                <c:pt idx="3">
                  <c:v>Exurban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7</c:v>
                </c:pt>
                <c:pt idx="1">
                  <c:v>0.12</c:v>
                </c:pt>
                <c:pt idx="2">
                  <c:v>0.14000000000000001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31-1A45-924E-BA3EC0C1B60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owth Percentage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Kelowna, BC</c:v>
                </c:pt>
                <c:pt idx="1">
                  <c:v>Kitchener-Cambridge-Waterloo, ON</c:v>
                </c:pt>
                <c:pt idx="2">
                  <c:v>London, ON</c:v>
                </c:pt>
                <c:pt idx="3">
                  <c:v>Halifax, NS</c:v>
                </c:pt>
                <c:pt idx="4">
                  <c:v>Moncton, NB</c:v>
                </c:pt>
                <c:pt idx="5">
                  <c:v>Chilliwack, BC</c:v>
                </c:pt>
                <c:pt idx="6">
                  <c:v>Calgary, AB</c:v>
                </c:pt>
                <c:pt idx="7">
                  <c:v>Edmonton, AB</c:v>
                </c:pt>
                <c:pt idx="8">
                  <c:v>Nanaimo, BC</c:v>
                </c:pt>
                <c:pt idx="9">
                  <c:v>Victoria, BC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35</c:v>
                </c:pt>
                <c:pt idx="1">
                  <c:v>0.3</c:v>
                </c:pt>
                <c:pt idx="2">
                  <c:v>0.25</c:v>
                </c:pt>
                <c:pt idx="3">
                  <c:v>0.24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18</c:v>
                </c:pt>
                <c:pt idx="8">
                  <c:v>0.15</c:v>
                </c:pt>
                <c:pt idx="9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24-604A-B2C3-A7AEF1DBE5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746628800"/>
        <c:axId val="1933247103"/>
      </c:barChart>
      <c:catAx>
        <c:axId val="7466288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247103"/>
        <c:crosses val="autoZero"/>
        <c:auto val="1"/>
        <c:lblAlgn val="ctr"/>
        <c:lblOffset val="100"/>
        <c:noMultiLvlLbl val="0"/>
      </c:catAx>
      <c:valAx>
        <c:axId val="1933247103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46628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02453157486044"/>
          <c:y val="0"/>
          <c:w val="0.7754090000020097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60</c:v>
                </c:pt>
              </c:strCache>
            </c:strRef>
          </c:tx>
          <c:spPr>
            <a:solidFill>
              <a:schemeClr val="bg2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917-2545-9267-70DD6EF06FA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ea typeface="Arial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Pakistan</c:v>
                </c:pt>
                <c:pt idx="5">
                  <c:v>Nigeria</c:v>
                </c:pt>
                <c:pt idx="6">
                  <c:v>Brazil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B$2:$B$11</c:f>
              <c:numCache>
                <c:formatCode>0.0</c:formatCode>
                <c:ptCount val="10"/>
                <c:pt idx="0">
                  <c:v>4.5</c:v>
                </c:pt>
                <c:pt idx="1">
                  <c:v>5.9</c:v>
                </c:pt>
                <c:pt idx="2">
                  <c:v>3.6</c:v>
                </c:pt>
                <c:pt idx="3">
                  <c:v>5.6</c:v>
                </c:pt>
                <c:pt idx="4">
                  <c:v>6.8</c:v>
                </c:pt>
                <c:pt idx="5">
                  <c:v>6.4</c:v>
                </c:pt>
                <c:pt idx="6">
                  <c:v>6.1</c:v>
                </c:pt>
                <c:pt idx="7">
                  <c:v>6.8</c:v>
                </c:pt>
                <c:pt idx="8">
                  <c:v>2.6</c:v>
                </c:pt>
                <c:pt idx="9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17-2545-9267-70DD6EF06FA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day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Barlow" pitchFamily="2" charset="77"/>
                        <a:ea typeface="Arial" charset="0"/>
                        <a:cs typeface="Arial" panose="020B0604020202020204" pitchFamily="34" charset="0"/>
                      </a:defRPr>
                    </a:pPr>
                    <a:r>
                      <a:rPr lang="en-US" sz="1200" b="1" i="0" dirty="0">
                        <a:solidFill>
                          <a:schemeClr val="tx1"/>
                        </a:solidFill>
                        <a:latin typeface="Barlow" pitchFamily="2" charset="77"/>
                        <a:ea typeface="Verdana" panose="020B0604030504040204" pitchFamily="34" charset="0"/>
                        <a:cs typeface="Arial" panose="020B0604020202020204" pitchFamily="34" charset="0"/>
                      </a:rPr>
                      <a:t>1.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7917-2545-9267-70DD6EF06FA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.9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7917-2545-9267-70DD6EF06FA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.6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7917-2545-9267-70DD6EF06FA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C72F1EE-9A1D-8742-ADA1-805EB4C07111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917-2545-9267-70DD6EF06FA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4B0F4F5-4FB0-2F44-8278-43837C16B0D7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7917-2545-9267-70DD6EF06FA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3FC5987-E22E-954C-8F0E-C04ACA4F1794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917-2545-9267-70DD6EF06FA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04735EA-F82C-3D42-A2C4-C5303EA6E5FA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7917-2545-9267-70DD6EF06FA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85759A6-CA9A-9241-A057-D6B182B9D7B3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917-2545-9267-70DD6EF06FAA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C1A40F1-9E88-A043-9785-A71515A253BF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7917-2545-9267-70DD6EF06FAA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1926CE6-46E0-7B48-828E-A97832D8D568}" type="VALUE">
                      <a:rPr lang="en-US" b="1" i="0" smtClean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pPr/>
                      <a:t>[VALUE]</a:t>
                    </a:fld>
                    <a:r>
                      <a:rPr lang="en-US" b="1" i="0" dirty="0">
                        <a:latin typeface="Arial" panose="020B060402020202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917-2545-9267-70DD6EF06F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ea typeface="Arial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Pakistan</c:v>
                </c:pt>
                <c:pt idx="5">
                  <c:v>Nigeria</c:v>
                </c:pt>
                <c:pt idx="6">
                  <c:v>Brazil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.2</c:v>
                </c:pt>
                <c:pt idx="1">
                  <c:v>2</c:v>
                </c:pt>
                <c:pt idx="2">
                  <c:v>1.7</c:v>
                </c:pt>
                <c:pt idx="3">
                  <c:v>2.1</c:v>
                </c:pt>
                <c:pt idx="4">
                  <c:v>3.4</c:v>
                </c:pt>
                <c:pt idx="5">
                  <c:v>5.0999999999999996</c:v>
                </c:pt>
                <c:pt idx="6">
                  <c:v>1.6</c:v>
                </c:pt>
                <c:pt idx="7">
                  <c:v>1.9</c:v>
                </c:pt>
                <c:pt idx="8">
                  <c:v>1.5</c:v>
                </c:pt>
                <c:pt idx="9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917-2545-9267-70DD6EF06FA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50</c:v>
                </c:pt>
              </c:strCache>
            </c:strRef>
          </c:tx>
          <c:spPr>
            <a:solidFill>
              <a:schemeClr val="bg2">
                <a:lumMod val="25000"/>
                <a:lumOff val="7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Pakistan</c:v>
                </c:pt>
                <c:pt idx="5">
                  <c:v>Nigeria</c:v>
                </c:pt>
                <c:pt idx="6">
                  <c:v>Brazil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.4</c:v>
                </c:pt>
                <c:pt idx="1">
                  <c:v>1.8</c:v>
                </c:pt>
                <c:pt idx="2">
                  <c:v>1.7</c:v>
                </c:pt>
                <c:pt idx="3">
                  <c:v>1.9</c:v>
                </c:pt>
                <c:pt idx="4">
                  <c:v>2.4</c:v>
                </c:pt>
                <c:pt idx="5">
                  <c:v>3</c:v>
                </c:pt>
                <c:pt idx="6">
                  <c:v>1.6</c:v>
                </c:pt>
                <c:pt idx="7">
                  <c:v>1.8</c:v>
                </c:pt>
                <c:pt idx="8">
                  <c:v>1.7</c:v>
                </c:pt>
                <c:pt idx="9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917-2545-9267-70DD6EF06FA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8"/>
        <c:axId val="-1962910832"/>
        <c:axId val="-2017569696"/>
      </c:barChart>
      <c:catAx>
        <c:axId val="-196291083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="0" i="0">
                <a:solidFill>
                  <a:schemeClr val="tx1"/>
                </a:solidFill>
                <a:latin typeface="Barlow" pitchFamily="2" charset="77"/>
                <a:ea typeface="Arial" charset="0"/>
                <a:cs typeface="Arial" panose="020B0604020202020204" pitchFamily="34" charset="0"/>
              </a:defRPr>
            </a:pPr>
            <a:endParaRPr lang="en-US"/>
          </a:p>
        </c:txPr>
        <c:crossAx val="-2017569696"/>
        <c:crosses val="autoZero"/>
        <c:auto val="1"/>
        <c:lblAlgn val="ctr"/>
        <c:lblOffset val="100"/>
        <c:noMultiLvlLbl val="0"/>
      </c:catAx>
      <c:valAx>
        <c:axId val="-2017569696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-1962910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5116657388573"/>
          <c:y val="0"/>
          <c:w val="0.7754090000020097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60</c:v>
                </c:pt>
              </c:strCache>
            </c:strRef>
          </c:tx>
          <c:spPr>
            <a:solidFill>
              <a:schemeClr val="bg2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6C7-224F-B4E5-1480F562CF6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ea typeface="Arial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Pakistan</c:v>
                </c:pt>
                <c:pt idx="5">
                  <c:v>Nigeria</c:v>
                </c:pt>
                <c:pt idx="6">
                  <c:v>Brazil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B$2:$B$11</c:f>
              <c:numCache>
                <c:formatCode>0</c:formatCode>
                <c:ptCount val="10"/>
                <c:pt idx="0">
                  <c:v>33</c:v>
                </c:pt>
                <c:pt idx="1">
                  <c:v>45</c:v>
                </c:pt>
                <c:pt idx="2">
                  <c:v>70</c:v>
                </c:pt>
                <c:pt idx="3">
                  <c:v>46</c:v>
                </c:pt>
                <c:pt idx="4">
                  <c:v>45</c:v>
                </c:pt>
                <c:pt idx="5">
                  <c:v>37</c:v>
                </c:pt>
                <c:pt idx="6">
                  <c:v>53</c:v>
                </c:pt>
                <c:pt idx="7">
                  <c:v>45</c:v>
                </c:pt>
                <c:pt idx="8">
                  <c:v>68</c:v>
                </c:pt>
                <c:pt idx="9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C7-224F-B4E5-1480F562C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day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7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63E-4A64-BA26-611F9BF324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ea typeface="Arial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Pakistan</c:v>
                </c:pt>
                <c:pt idx="5">
                  <c:v>Nigeria</c:v>
                </c:pt>
                <c:pt idx="6">
                  <c:v>Brazil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C$2:$C$11</c:f>
              <c:numCache>
                <c:formatCode>0</c:formatCode>
                <c:ptCount val="10"/>
                <c:pt idx="0">
                  <c:v>79</c:v>
                </c:pt>
                <c:pt idx="1">
                  <c:v>72</c:v>
                </c:pt>
                <c:pt idx="2">
                  <c:v>80</c:v>
                </c:pt>
                <c:pt idx="3">
                  <c:v>71</c:v>
                </c:pt>
                <c:pt idx="4">
                  <c:v>67</c:v>
                </c:pt>
                <c:pt idx="5">
                  <c:v>54</c:v>
                </c:pt>
                <c:pt idx="6">
                  <c:v>76</c:v>
                </c:pt>
                <c:pt idx="7">
                  <c:v>74</c:v>
                </c:pt>
                <c:pt idx="8">
                  <c:v>75</c:v>
                </c:pt>
                <c:pt idx="9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C7-224F-B4E5-1480F562CF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50</c:v>
                </c:pt>
              </c:strCache>
            </c:strRef>
          </c:tx>
          <c:spPr>
            <a:solidFill>
              <a:schemeClr val="bg2">
                <a:lumMod val="25000"/>
                <a:lumOff val="7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8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931-496A-8D9D-A279140D36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tx1"/>
                    </a:solidFill>
                    <a:latin typeface="Barlow" pitchFamily="2" charset="77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India</c:v>
                </c:pt>
                <c:pt idx="2">
                  <c:v>US</c:v>
                </c:pt>
                <c:pt idx="3">
                  <c:v>Indonesia</c:v>
                </c:pt>
                <c:pt idx="4">
                  <c:v>Pakistan</c:v>
                </c:pt>
                <c:pt idx="5">
                  <c:v>Nigeria</c:v>
                </c:pt>
                <c:pt idx="6">
                  <c:v>Brazil</c:v>
                </c:pt>
                <c:pt idx="7">
                  <c:v>Bangladesh</c:v>
                </c:pt>
                <c:pt idx="8">
                  <c:v>Russia</c:v>
                </c:pt>
                <c:pt idx="9">
                  <c:v>Mexico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84</c:v>
                </c:pt>
                <c:pt idx="1">
                  <c:v>78</c:v>
                </c:pt>
                <c:pt idx="2">
                  <c:v>84</c:v>
                </c:pt>
                <c:pt idx="3">
                  <c:v>75</c:v>
                </c:pt>
                <c:pt idx="4">
                  <c:v>71</c:v>
                </c:pt>
                <c:pt idx="5">
                  <c:v>60</c:v>
                </c:pt>
                <c:pt idx="6">
                  <c:v>81</c:v>
                </c:pt>
                <c:pt idx="7">
                  <c:v>80</c:v>
                </c:pt>
                <c:pt idx="8">
                  <c:v>80</c:v>
                </c:pt>
                <c:pt idx="9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6C7-224F-B4E5-1480F562CF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8"/>
        <c:axId val="-1962910832"/>
        <c:axId val="-2017569696"/>
      </c:barChart>
      <c:catAx>
        <c:axId val="-196291083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="0" i="0">
                <a:solidFill>
                  <a:schemeClr val="tx1"/>
                </a:solidFill>
                <a:latin typeface="Barlow" pitchFamily="2" charset="77"/>
                <a:ea typeface="Arial" charset="0"/>
                <a:cs typeface="Arial" panose="020B0604020202020204" pitchFamily="34" charset="0"/>
              </a:defRPr>
            </a:pPr>
            <a:endParaRPr lang="en-US"/>
          </a:p>
        </c:txPr>
        <c:crossAx val="-2017569696"/>
        <c:crosses val="autoZero"/>
        <c:auto val="1"/>
        <c:lblAlgn val="ctr"/>
        <c:lblOffset val="100"/>
        <c:noMultiLvlLbl val="0"/>
      </c:catAx>
      <c:valAx>
        <c:axId val="-2017569696"/>
        <c:scaling>
          <c:orientation val="minMax"/>
        </c:scaling>
        <c:delete val="1"/>
        <c:axPos val="t"/>
        <c:numFmt formatCode="0" sourceLinked="1"/>
        <c:majorTickMark val="out"/>
        <c:minorTickMark val="none"/>
        <c:tickLblPos val="nextTo"/>
        <c:crossAx val="-1962910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Lifespan of Canadians</c:v>
                </c:pt>
              </c:strCache>
            </c:strRef>
          </c:tx>
          <c:spPr>
            <a:solidFill>
              <a:srgbClr val="F1001B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10000"/>
                  <a:lumOff val="9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3E9F-DC4E-93B7-D9061DA3AE47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</c:spPr>
            <c:extLst>
              <c:ext xmlns:c16="http://schemas.microsoft.com/office/drawing/2014/chart" uri="{C3380CC4-5D6E-409C-BE32-E72D297353CC}">
                <c16:uniqueId val="{00000001-3E9F-DC4E-93B7-D9061DA3AE47}"/>
              </c:ext>
            </c:extLst>
          </c:dPt>
          <c:dPt>
            <c:idx val="2"/>
            <c:invertIfNegative val="0"/>
            <c:bubble3D val="0"/>
            <c:spPr>
              <a:solidFill>
                <a:schemeClr val="bg2">
                  <a:lumMod val="25000"/>
                  <a:lumOff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E9F-DC4E-93B7-D9061DA3AE47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E9F-DC4E-93B7-D9061DA3AE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1920's</c:v>
                </c:pt>
                <c:pt idx="1">
                  <c:v>Now</c:v>
                </c:pt>
                <c:pt idx="2">
                  <c:v>2036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57</c:v>
                </c:pt>
                <c:pt idx="1">
                  <c:v>81</c:v>
                </c:pt>
                <c:pt idx="2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E9F-DC4E-93B7-D9061DA3AE4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9"/>
        <c:axId val="-1926452368"/>
        <c:axId val="-1985988144"/>
      </c:barChart>
      <c:catAx>
        <c:axId val="-192645236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2000">
                <a:solidFill>
                  <a:schemeClr val="tx1"/>
                </a:solidFill>
                <a:latin typeface="Barlow" pitchFamily="2" charset="77"/>
                <a:ea typeface="Arial" charset="0"/>
                <a:cs typeface="Arial" charset="0"/>
              </a:defRPr>
            </a:pPr>
            <a:endParaRPr lang="en-US"/>
          </a:p>
        </c:txPr>
        <c:crossAx val="-1985988144"/>
        <c:crosses val="autoZero"/>
        <c:auto val="1"/>
        <c:lblAlgn val="ctr"/>
        <c:lblOffset val="100"/>
        <c:noMultiLvlLbl val="0"/>
      </c:catAx>
      <c:valAx>
        <c:axId val="-1985988144"/>
        <c:scaling>
          <c:orientation val="minMax"/>
        </c:scaling>
        <c:delete val="1"/>
        <c:axPos val="t"/>
        <c:numFmt formatCode="0" sourceLinked="1"/>
        <c:majorTickMark val="out"/>
        <c:minorTickMark val="none"/>
        <c:tickLblPos val="nextTo"/>
        <c:crossAx val="-19264523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717575987093197E-2"/>
          <c:y val="3.8253286805350083E-2"/>
          <c:w val="0.93656484802581363"/>
          <c:h val="0.85473574995557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</c:v>
                </c:pt>
              </c:strCache>
            </c:strRef>
          </c:tx>
          <c:spPr>
            <a:ln w="38100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574-014A-97A2-769950688DB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01</c:v>
                </c:pt>
                <c:pt idx="1">
                  <c:v>2006</c:v>
                </c:pt>
                <c:pt idx="2">
                  <c:v>2011</c:v>
                </c:pt>
                <c:pt idx="3">
                  <c:v>2016</c:v>
                </c:pt>
                <c:pt idx="4">
                  <c:v>2021</c:v>
                </c:pt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184</c:v>
                </c:pt>
                <c:pt idx="1">
                  <c:v>0.19800000000000001</c:v>
                </c:pt>
                <c:pt idx="2">
                  <c:v>0.20599999999999999</c:v>
                </c:pt>
                <c:pt idx="3">
                  <c:v>0.219</c:v>
                </c:pt>
                <c:pt idx="4">
                  <c:v>0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D8-6745-B033-4977F009E27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42127087"/>
        <c:axId val="113139887"/>
      </c:lineChart>
      <c:catAx>
        <c:axId val="42127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139887"/>
        <c:crosses val="autoZero"/>
        <c:auto val="1"/>
        <c:lblAlgn val="ctr"/>
        <c:lblOffset val="100"/>
        <c:noMultiLvlLbl val="0"/>
      </c:catAx>
      <c:valAx>
        <c:axId val="113139887"/>
        <c:scaling>
          <c:orientation val="minMax"/>
          <c:min val="0.14000000000000001"/>
        </c:scaling>
        <c:delete val="1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2127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552</cdr:x>
      <cdr:y>0.91451</cdr:y>
    </cdr:from>
    <cdr:to>
      <cdr:x>0.19743</cdr:x>
      <cdr:y>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EABD00FA-3C9D-E712-4641-A5BA2C736850}"/>
            </a:ext>
          </a:extLst>
        </cdr:cNvPr>
        <cdr:cNvSpPr/>
      </cdr:nvSpPr>
      <cdr:spPr>
        <a:xfrm xmlns:a="http://schemas.openxmlformats.org/drawingml/2006/main">
          <a:off x="200488" y="3947017"/>
          <a:ext cx="669073" cy="36895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lnSpc>
              <a:spcPct val="112000"/>
            </a:lnSpc>
            <a:spcBef>
              <a:spcPts val="400"/>
            </a:spcBef>
            <a:spcAft>
              <a:spcPts val="400"/>
            </a:spcAft>
          </a:pPr>
          <a:endParaRPr lang="en-CA" sz="2400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id="{24EDE16D-8876-4EF1-8863-60C2FE4CD7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0050" y="8562232"/>
            <a:ext cx="480060" cy="3626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 b="1">
                <a:latin typeface="Barlow" panose="020B0604020202020204" pitchFamily="34" charset="0"/>
              </a:defRPr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C559FD35-2DCE-40AC-B06F-CA1FDB3EE8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3184" y="8505320"/>
            <a:ext cx="404766" cy="36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48590" y="152400"/>
            <a:ext cx="6569710" cy="3695462"/>
          </a:xfrm>
          <a:prstGeom prst="rect">
            <a:avLst/>
          </a:prstGeom>
          <a:noFill/>
          <a:ln w="12700">
            <a:solidFill>
              <a:srgbClr val="878787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6" name="Espace réservé des notes 4">
            <a:extLst>
              <a:ext uri="{FF2B5EF4-FFF2-40B4-BE49-F238E27FC236}">
                <a16:creationId xmlns:a16="http://schemas.microsoft.com/office/drawing/2014/main" id="{D3C969E9-D72B-43D0-96E0-B91161682A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48590" y="4273075"/>
            <a:ext cx="6560820" cy="402510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0" lvl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noProof="0" dirty="0"/>
              <a:t>Click here to add text</a:t>
            </a:r>
          </a:p>
          <a:p>
            <a:pPr marL="171450" lvl="1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"/>
            </a:pPr>
            <a:r>
              <a:rPr lang="en-GB" noProof="0" dirty="0"/>
              <a:t>First level bullet</a:t>
            </a:r>
          </a:p>
          <a:p>
            <a:pPr marL="357188" lvl="2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Barlow" panose="020B0502040204020203" pitchFamily="34" charset="0"/>
              <a:buChar char="-"/>
            </a:pPr>
            <a:r>
              <a:rPr lang="en-GB" noProof="0" dirty="0"/>
              <a:t>Second level bullet</a:t>
            </a:r>
          </a:p>
          <a:p>
            <a:pPr marL="628650" lvl="3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Barlow" panose="020B0604020202020204" pitchFamily="34" charset="0"/>
              <a:buChar char="•"/>
            </a:pPr>
            <a:r>
              <a:rPr lang="en-GB" noProof="0" dirty="0"/>
              <a:t>Third level bullet</a:t>
            </a:r>
          </a:p>
        </p:txBody>
      </p:sp>
      <p:sp>
        <p:nvSpPr>
          <p:cNvPr id="10" name="Espace réservé du numéro de diapositive 6">
            <a:extLst>
              <a:ext uri="{FF2B5EF4-FFF2-40B4-BE49-F238E27FC236}">
                <a16:creationId xmlns:a16="http://schemas.microsoft.com/office/drawing/2014/main" id="{9CC188B7-201A-41CF-A8C8-B17F56565C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7150" y="8689232"/>
            <a:ext cx="480060" cy="3626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 b="1">
                <a:latin typeface="Barlow" panose="020B0604020202020204" pitchFamily="34" charset="0"/>
              </a:defRPr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3000397-2CCA-4747-8472-EE41CDE62C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4644" y="8623776"/>
            <a:ext cx="404766" cy="36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lang="en-GB" sz="1000" kern="1200" noProof="0" dirty="0" smtClean="0">
        <a:solidFill>
          <a:schemeClr val="tx1"/>
        </a:solidFill>
        <a:latin typeface="Barlow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lang="en-GB" sz="1000" kern="1200" noProof="0" dirty="0" smtClean="0">
        <a:solidFill>
          <a:schemeClr val="tx1"/>
        </a:solidFill>
        <a:latin typeface="Barlow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lang="en-GB" sz="1000" kern="1200" noProof="0" dirty="0" smtClean="0">
        <a:solidFill>
          <a:schemeClr val="tx1"/>
        </a:solidFill>
        <a:latin typeface="Barlow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lang="en-GB" sz="1000" kern="1200" noProof="0" dirty="0">
        <a:solidFill>
          <a:schemeClr val="tx1"/>
        </a:solidFill>
        <a:latin typeface="Barlow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arlow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9225" y="152400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2206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e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e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3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6.emf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7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5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6.emf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6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emf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emf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6.emf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6.emf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8.jpe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0.jpe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7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5.emf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6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7.emf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7.emf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8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9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0.jpe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emf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emf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3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7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5.emf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6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7.emf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7.emf"/></Relationships>
</file>

<file path=ppt/slideLayouts/_rels/slideLayout3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7.emf"/></Relationships>
</file>

<file path=ppt/slideLayouts/_rels/slideLayout3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6.emf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svg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3.png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image" Target="../media/image2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6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5.png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image" Target="../media/image2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6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5.png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image" Target="../media/image2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2.png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8.jpeg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4.png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6.jpeg"/><Relationship Id="rId9" Type="http://schemas.microsoft.com/office/2007/relationships/hdphoto" Target="../media/hdphoto4.wdp"/></Relationships>
</file>

<file path=ppt/slideLayouts/_rels/slideLayout3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4.png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6.jpeg"/><Relationship Id="rId9" Type="http://schemas.microsoft.com/office/2007/relationships/hdphoto" Target="../media/hdphoto5.wdp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4.xml"/><Relationship Id="rId5" Type="http://schemas.openxmlformats.org/officeDocument/2006/relationships/image" Target="../media/image21.png"/><Relationship Id="rId4" Type="http://schemas.openxmlformats.org/officeDocument/2006/relationships/image" Target="../media/image3.emf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6.xml"/><Relationship Id="rId1" Type="http://schemas.openxmlformats.org/officeDocument/2006/relationships/tags" Target="../tags/tag435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27.jpe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2.xml"/><Relationship Id="rId1" Type="http://schemas.openxmlformats.org/officeDocument/2006/relationships/tags" Target="../tags/tag4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8.xml"/><Relationship Id="rId1" Type="http://schemas.openxmlformats.org/officeDocument/2006/relationships/tags" Target="../tags/tag457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0.xml"/><Relationship Id="rId1" Type="http://schemas.openxmlformats.org/officeDocument/2006/relationships/tags" Target="../tags/tag459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74.xml"/><Relationship Id="rId1" Type="http://schemas.openxmlformats.org/officeDocument/2006/relationships/tags" Target="../tags/tag47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emf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emf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emf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emf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14.xml"/><Relationship Id="rId1" Type="http://schemas.openxmlformats.org/officeDocument/2006/relationships/tags" Target="../tags/tag51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22.xml"/><Relationship Id="rId1" Type="http://schemas.openxmlformats.org/officeDocument/2006/relationships/tags" Target="../tags/tag52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emf"/><Relationship Id="rId2" Type="http://schemas.openxmlformats.org/officeDocument/2006/relationships/tags" Target="../tags/tag524.xml"/><Relationship Id="rId1" Type="http://schemas.openxmlformats.org/officeDocument/2006/relationships/tags" Target="../tags/tag52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emf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30.xml"/><Relationship Id="rId1" Type="http://schemas.openxmlformats.org/officeDocument/2006/relationships/tags" Target="../tags/tag52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6.emf"/></Relationships>
</file>

<file path=ppt/slideLayouts/_rels/slideLayout4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7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5.emf"/></Relationships>
</file>

<file path=ppt/slideLayouts/_rels/slideLayout4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6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6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7.emf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7.emf"/></Relationships>
</file>

<file path=ppt/slideLayouts/_rels/slideLayout4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7.emf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6.emf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6.emf"/></Relationships>
</file>

<file path=ppt/slideLayouts/_rels/slideLayout4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6.xml"/><Relationship Id="rId1" Type="http://schemas.openxmlformats.org/officeDocument/2006/relationships/tags" Target="../tags/tag55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8.xml"/><Relationship Id="rId1" Type="http://schemas.openxmlformats.org/officeDocument/2006/relationships/tags" Target="../tags/tag55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8.svg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2.xml"/><Relationship Id="rId1" Type="http://schemas.openxmlformats.org/officeDocument/2006/relationships/tags" Target="../tags/tag56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8.svg"/><Relationship Id="rId2" Type="http://schemas.openxmlformats.org/officeDocument/2006/relationships/tags" Target="../tags/tag564.xml"/><Relationship Id="rId1" Type="http://schemas.openxmlformats.org/officeDocument/2006/relationships/tags" Target="../tags/tag563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8.svg"/><Relationship Id="rId2" Type="http://schemas.openxmlformats.org/officeDocument/2006/relationships/tags" Target="../tags/tag566.xml"/><Relationship Id="rId1" Type="http://schemas.openxmlformats.org/officeDocument/2006/relationships/tags" Target="../tags/tag565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3.emf"/></Relationships>
</file>

<file path=ppt/slideLayouts/_rels/slideLayout4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9.xml"/><Relationship Id="rId6" Type="http://schemas.microsoft.com/office/2007/relationships/hdphoto" Target="../media/hdphoto6.wdp"/><Relationship Id="rId5" Type="http://schemas.openxmlformats.org/officeDocument/2006/relationships/image" Target="../media/image29.png"/><Relationship Id="rId4" Type="http://schemas.openxmlformats.org/officeDocument/2006/relationships/image" Target="../media/image3.emf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1.xml"/><Relationship Id="rId1" Type="http://schemas.openxmlformats.org/officeDocument/2006/relationships/tags" Target="../tags/tag570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573.xml"/><Relationship Id="rId1" Type="http://schemas.openxmlformats.org/officeDocument/2006/relationships/tags" Target="../tags/tag57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13.emf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1.png"/><Relationship Id="rId2" Type="http://schemas.openxmlformats.org/officeDocument/2006/relationships/tags" Target="../tags/tag577.xml"/><Relationship Id="rId1" Type="http://schemas.openxmlformats.org/officeDocument/2006/relationships/tags" Target="../tags/tag576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68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3.png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image" Target="../media/image3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69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3.png"/><Relationship Id="rId2" Type="http://schemas.openxmlformats.org/officeDocument/2006/relationships/tags" Target="../tags/tag581.xml"/><Relationship Id="rId1" Type="http://schemas.openxmlformats.org/officeDocument/2006/relationships/tags" Target="../tags/tag580.xml"/><Relationship Id="rId6" Type="http://schemas.openxmlformats.org/officeDocument/2006/relationships/image" Target="../media/image3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83.xml"/><Relationship Id="rId1" Type="http://schemas.openxmlformats.org/officeDocument/2006/relationships/tags" Target="../tags/tag58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8.jpeg"/></Relationships>
</file>

<file path=ppt/slideLayouts/_rels/slideLayout4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2.png"/><Relationship Id="rId2" Type="http://schemas.openxmlformats.org/officeDocument/2006/relationships/tags" Target="../tags/tag587.xml"/><Relationship Id="rId1" Type="http://schemas.openxmlformats.org/officeDocument/2006/relationships/tags" Target="../tags/tag58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26.jpeg"/><Relationship Id="rId9" Type="http://schemas.microsoft.com/office/2007/relationships/hdphoto" Target="../media/hdphoto7.wdp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2.png"/><Relationship Id="rId2" Type="http://schemas.openxmlformats.org/officeDocument/2006/relationships/tags" Target="../tags/tag589.xml"/><Relationship Id="rId1" Type="http://schemas.openxmlformats.org/officeDocument/2006/relationships/tags" Target="../tags/tag58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26.jpeg"/><Relationship Id="rId9" Type="http://schemas.microsoft.com/office/2007/relationships/hdphoto" Target="../media/hdphoto7.wdp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90.xml"/><Relationship Id="rId5" Type="http://schemas.openxmlformats.org/officeDocument/2006/relationships/image" Target="../media/image30.png"/><Relationship Id="rId4" Type="http://schemas.openxmlformats.org/officeDocument/2006/relationships/image" Target="../media/image3.emf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94.xml"/><Relationship Id="rId1" Type="http://schemas.openxmlformats.org/officeDocument/2006/relationships/tags" Target="../tags/tag593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596.xml"/><Relationship Id="rId1" Type="http://schemas.openxmlformats.org/officeDocument/2006/relationships/tags" Target="../tags/tag59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8.bin"/><Relationship Id="rId4" Type="http://schemas.openxmlformats.org/officeDocument/2006/relationships/image" Target="../media/image10.jpeg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02.xml"/><Relationship Id="rId1" Type="http://schemas.openxmlformats.org/officeDocument/2006/relationships/tags" Target="../tags/tag601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04.xml"/><Relationship Id="rId1" Type="http://schemas.openxmlformats.org/officeDocument/2006/relationships/tags" Target="../tags/tag603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06.xml"/><Relationship Id="rId1" Type="http://schemas.openxmlformats.org/officeDocument/2006/relationships/tags" Target="../tags/tag60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10.xml"/><Relationship Id="rId1" Type="http://schemas.openxmlformats.org/officeDocument/2006/relationships/tags" Target="../tags/tag60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12.xml"/><Relationship Id="rId1" Type="http://schemas.openxmlformats.org/officeDocument/2006/relationships/tags" Target="../tags/tag611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16.xml"/><Relationship Id="rId1" Type="http://schemas.openxmlformats.org/officeDocument/2006/relationships/tags" Target="../tags/tag615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20.xml"/><Relationship Id="rId1" Type="http://schemas.openxmlformats.org/officeDocument/2006/relationships/tags" Target="../tags/tag619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22.xml"/><Relationship Id="rId1" Type="http://schemas.openxmlformats.org/officeDocument/2006/relationships/tags" Target="../tags/tag62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24.xml"/><Relationship Id="rId1" Type="http://schemas.openxmlformats.org/officeDocument/2006/relationships/tags" Target="../tags/tag62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26.xml"/><Relationship Id="rId1" Type="http://schemas.openxmlformats.org/officeDocument/2006/relationships/tags" Target="../tags/tag62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28.xml"/><Relationship Id="rId1" Type="http://schemas.openxmlformats.org/officeDocument/2006/relationships/tags" Target="../tags/tag62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32.xml"/><Relationship Id="rId1" Type="http://schemas.openxmlformats.org/officeDocument/2006/relationships/tags" Target="../tags/tag63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34.xml"/><Relationship Id="rId1" Type="http://schemas.openxmlformats.org/officeDocument/2006/relationships/tags" Target="../tags/tag63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36.xml"/><Relationship Id="rId1" Type="http://schemas.openxmlformats.org/officeDocument/2006/relationships/tags" Target="../tags/tag635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38.xml"/><Relationship Id="rId1" Type="http://schemas.openxmlformats.org/officeDocument/2006/relationships/tags" Target="../tags/tag63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40.xml"/><Relationship Id="rId1" Type="http://schemas.openxmlformats.org/officeDocument/2006/relationships/tags" Target="../tags/tag63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44.xml"/><Relationship Id="rId1" Type="http://schemas.openxmlformats.org/officeDocument/2006/relationships/tags" Target="../tags/tag64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46.xml"/><Relationship Id="rId1" Type="http://schemas.openxmlformats.org/officeDocument/2006/relationships/tags" Target="../tags/tag64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emf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emf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52.xml"/><Relationship Id="rId1" Type="http://schemas.openxmlformats.org/officeDocument/2006/relationships/tags" Target="../tags/tag651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54.xml"/><Relationship Id="rId1" Type="http://schemas.openxmlformats.org/officeDocument/2006/relationships/tags" Target="../tags/tag65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56.xml"/><Relationship Id="rId1" Type="http://schemas.openxmlformats.org/officeDocument/2006/relationships/tags" Target="../tags/tag65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60.xml"/><Relationship Id="rId1" Type="http://schemas.openxmlformats.org/officeDocument/2006/relationships/tags" Target="../tags/tag65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62.xml"/><Relationship Id="rId1" Type="http://schemas.openxmlformats.org/officeDocument/2006/relationships/tags" Target="../tags/tag66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emf"/><Relationship Id="rId2" Type="http://schemas.openxmlformats.org/officeDocument/2006/relationships/tags" Target="../tags/tag664.xml"/><Relationship Id="rId1" Type="http://schemas.openxmlformats.org/officeDocument/2006/relationships/tags" Target="../tags/tag663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emf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68.xml"/><Relationship Id="rId1" Type="http://schemas.openxmlformats.org/officeDocument/2006/relationships/tags" Target="../tags/tag667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70.xml"/><Relationship Id="rId1" Type="http://schemas.openxmlformats.org/officeDocument/2006/relationships/tags" Target="../tags/tag669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72.xml"/><Relationship Id="rId1" Type="http://schemas.openxmlformats.org/officeDocument/2006/relationships/tags" Target="../tags/tag671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74.xml"/><Relationship Id="rId1" Type="http://schemas.openxmlformats.org/officeDocument/2006/relationships/tags" Target="../tags/tag673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76.xml"/><Relationship Id="rId1" Type="http://schemas.openxmlformats.org/officeDocument/2006/relationships/tags" Target="../tags/tag675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678.xml"/><Relationship Id="rId1" Type="http://schemas.openxmlformats.org/officeDocument/2006/relationships/tags" Target="../tags/tag677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emf"/><Relationship Id="rId2" Type="http://schemas.openxmlformats.org/officeDocument/2006/relationships/tags" Target="../tags/tag680.xml"/><Relationship Id="rId1" Type="http://schemas.openxmlformats.org/officeDocument/2006/relationships/tags" Target="../tags/tag679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emf"/><Relationship Id="rId2" Type="http://schemas.openxmlformats.org/officeDocument/2006/relationships/tags" Target="../tags/tag682.xml"/><Relationship Id="rId1" Type="http://schemas.openxmlformats.org/officeDocument/2006/relationships/tags" Target="../tags/tag681.xml"/><Relationship Id="rId6" Type="http://schemas.openxmlformats.org/officeDocument/2006/relationships/image" Target="../media/image1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4.xml"/><Relationship Id="rId1" Type="http://schemas.openxmlformats.org/officeDocument/2006/relationships/tags" Target="../tags/tag68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86.xml"/><Relationship Id="rId1" Type="http://schemas.openxmlformats.org/officeDocument/2006/relationships/tags" Target="../tags/tag68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6.emf"/></Relationships>
</file>

<file path=ppt/slideLayouts/_rels/slideLayout5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88.xml"/><Relationship Id="rId1" Type="http://schemas.openxmlformats.org/officeDocument/2006/relationships/tags" Target="../tags/tag68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7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5.emf"/></Relationships>
</file>

<file path=ppt/slideLayouts/_rels/slideLayout5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90.xml"/><Relationship Id="rId1" Type="http://schemas.openxmlformats.org/officeDocument/2006/relationships/tags" Target="../tags/tag68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6.emf"/></Relationships>
</file>

<file path=ppt/slideLayouts/_rels/slideLayout5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92.xml"/><Relationship Id="rId1" Type="http://schemas.openxmlformats.org/officeDocument/2006/relationships/tags" Target="../tags/tag69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10" Type="http://schemas.openxmlformats.org/officeDocument/2006/relationships/image" Target="../media/image16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7.emf"/></Relationships>
</file>

<file path=ppt/slideLayouts/_rels/slideLayout5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94.xml"/><Relationship Id="rId1" Type="http://schemas.openxmlformats.org/officeDocument/2006/relationships/tags" Target="../tags/tag69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96.xml"/><Relationship Id="rId1" Type="http://schemas.openxmlformats.org/officeDocument/2006/relationships/tags" Target="../tags/tag69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7.emf"/></Relationships>
</file>

<file path=ppt/slideLayouts/_rels/slideLayout5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698.xml"/><Relationship Id="rId1" Type="http://schemas.openxmlformats.org/officeDocument/2006/relationships/tags" Target="../tags/tag69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700.xml"/><Relationship Id="rId1" Type="http://schemas.openxmlformats.org/officeDocument/2006/relationships/tags" Target="../tags/tag699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7.emf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702.xml"/><Relationship Id="rId1" Type="http://schemas.openxmlformats.org/officeDocument/2006/relationships/tags" Target="../tags/tag701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6.emf"/></Relationships>
</file>

<file path=ppt/slideLayouts/_rels/slideLayout5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704.xml"/><Relationship Id="rId1" Type="http://schemas.openxmlformats.org/officeDocument/2006/relationships/tags" Target="../tags/tag703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6.emf"/></Relationships>
</file>

<file path=ppt/slideLayouts/_rels/slideLayout5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706.xml"/><Relationship Id="rId1" Type="http://schemas.openxmlformats.org/officeDocument/2006/relationships/tags" Target="../tags/tag705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emf"/><Relationship Id="rId2" Type="http://schemas.openxmlformats.org/officeDocument/2006/relationships/tags" Target="../tags/tag708.xml"/><Relationship Id="rId1" Type="http://schemas.openxmlformats.org/officeDocument/2006/relationships/tags" Target="../tags/tag707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2.xml"/><Relationship Id="rId1" Type="http://schemas.openxmlformats.org/officeDocument/2006/relationships/tags" Target="../tags/tag7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4.xml"/><Relationship Id="rId1" Type="http://schemas.openxmlformats.org/officeDocument/2006/relationships/tags" Target="../tags/tag7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8.svg"/><Relationship Id="rId2" Type="http://schemas.openxmlformats.org/officeDocument/2006/relationships/tags" Target="../tags/tag716.xml"/><Relationship Id="rId1" Type="http://schemas.openxmlformats.org/officeDocument/2006/relationships/tags" Target="../tags/tag715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8.xml"/><Relationship Id="rId1" Type="http://schemas.openxmlformats.org/officeDocument/2006/relationships/tags" Target="../tags/tag7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8.svg"/><Relationship Id="rId2" Type="http://schemas.openxmlformats.org/officeDocument/2006/relationships/tags" Target="../tags/tag720.xml"/><Relationship Id="rId1" Type="http://schemas.openxmlformats.org/officeDocument/2006/relationships/tags" Target="../tags/tag719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8.svg"/><Relationship Id="rId2" Type="http://schemas.openxmlformats.org/officeDocument/2006/relationships/tags" Target="../tags/tag722.xml"/><Relationship Id="rId1" Type="http://schemas.openxmlformats.org/officeDocument/2006/relationships/tags" Target="../tags/tag721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23.xml"/><Relationship Id="rId6" Type="http://schemas.openxmlformats.org/officeDocument/2006/relationships/image" Target="../media/image31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24.xml"/><Relationship Id="rId6" Type="http://schemas.openxmlformats.org/officeDocument/2006/relationships/image" Target="../media/image31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oleObject" Target="../embeddings/oleObject5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25.xml"/><Relationship Id="rId6" Type="http://schemas.microsoft.com/office/2007/relationships/hdphoto" Target="../media/hdphoto8.wdp"/><Relationship Id="rId5" Type="http://schemas.openxmlformats.org/officeDocument/2006/relationships/image" Target="../media/image34.png"/><Relationship Id="rId4" Type="http://schemas.openxmlformats.org/officeDocument/2006/relationships/image" Target="../media/image3.emf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7.xml"/><Relationship Id="rId1" Type="http://schemas.openxmlformats.org/officeDocument/2006/relationships/tags" Target="../tags/tag726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0.png"/><Relationship Id="rId2" Type="http://schemas.openxmlformats.org/officeDocument/2006/relationships/tags" Target="../tags/tag729.xml"/><Relationship Id="rId1" Type="http://schemas.openxmlformats.org/officeDocument/2006/relationships/tags" Target="../tags/tag72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1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5791000" cy="715669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905000" y="14514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  <a:endParaRPr lang="en-GB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2B307F84-45B4-FBB4-1E6C-CD4B241E7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139"/>
            <a:ext cx="3851275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4356864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images_3_summari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7598694-721D-C499-32B8-2559553463B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0000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z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D497C279-EB05-83B6-CAFE-F19E949417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6915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2D6D46A2-3813-48AC-B44F-11FED09C960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336840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436747DF-926E-3B9F-54BC-1491817508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4838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16" name="Placeholder 3">
            <a:extLst>
              <a:ext uri="{FF2B5EF4-FFF2-40B4-BE49-F238E27FC236}">
                <a16:creationId xmlns:a16="http://schemas.microsoft.com/office/drawing/2014/main" id="{912710EB-D5BC-4555-8C11-D849D8A5819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224838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379921-B222-AEF2-4C24-F79AEBA1B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C93700-768F-F0BD-FFA2-5E2889AAB11B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728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30F26-2600-FA44-A450-07CBDCF87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F9F675-7E29-CF43-A450-448E539F46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 b="1" i="0">
                <a:latin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</a:defRPr>
            </a:lvl2pPr>
            <a:lvl3pPr>
              <a:defRPr sz="2400" b="1" i="0">
                <a:latin typeface="Arial" panose="020B0604020202020204" pitchFamily="34" charset="0"/>
              </a:defRPr>
            </a:lvl3pPr>
            <a:lvl4pPr>
              <a:defRPr sz="2000" b="1" i="0">
                <a:latin typeface="Arial" panose="020B0604020202020204" pitchFamily="34" charset="0"/>
              </a:defRPr>
            </a:lvl4pPr>
            <a:lvl5pPr>
              <a:defRPr sz="2000" b="1" i="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3A3F70-95C5-EB42-A408-59880D744F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 b="1" i="0">
                <a:latin typeface="Arial" panose="020B0604020202020204" pitchFamily="34" charset="0"/>
              </a:defRPr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7195D5-292C-524D-BD18-B64B4AA28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D70F91-8747-0C4B-A74F-D40168E1B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06E95-54D7-E048-AFF7-DE3693AD7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3635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6A63A-5D5B-4E4F-9EED-5EC70E9BE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80C9E9-C46C-E648-8CB3-50F313F2AE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 marL="0" indent="0">
              <a:buNone/>
              <a:defRPr sz="3200" b="1" i="0">
                <a:latin typeface="Arial" panose="020B0604020202020204" pitchFamily="34" charset="0"/>
              </a:defRPr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6CF6D1-0DBF-7847-8B40-5F61FFE7F9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 b="1" i="0">
                <a:latin typeface="Arial" panose="020B0604020202020204" pitchFamily="34" charset="0"/>
              </a:defRPr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061E4A-AA75-6040-A8DE-01EA45884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6C3B30-2D53-EA49-B88D-7BC5B6136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6F82FD-7B48-3E49-AD0F-A149AD99F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30936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18614-4329-7845-A13E-09CD01FE3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876232-FC63-9E44-A1D8-E35DFD0FD6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2C2E2F-F24D-AB43-9FA8-021292822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B7B80-3076-3041-8602-DE5672AD7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CDF34-BBA4-1A42-AA66-16DD3498E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988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DB9BD5-D35D-0B40-8C37-C21CBD69BD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7"/>
            <a:ext cx="2628900" cy="5811839"/>
          </a:xfrm>
        </p:spPr>
        <p:txBody>
          <a:bodyPr vert="eaVert"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9FC41D-761F-AB40-A352-5DF8270B39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2" y="365127"/>
            <a:ext cx="7734300" cy="5811839"/>
          </a:xfrm>
        </p:spPr>
        <p:txBody>
          <a:bodyPr vert="eaVert"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535FF-4E08-864F-B46D-1423C2FFC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4E89BE-62B4-EC4B-8441-E4AC77450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5B1A08-5230-F243-8BC5-B7BDBDD32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5285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308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7584907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5767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249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394589"/>
            <a:ext cx="7551996" cy="954108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7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39" indent="-450839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63" indent="-314317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12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658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918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908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l_4_images_with commenta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55C23FA-A39C-47E2-B32E-D31B7F81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D5D8EA5-7317-FA5E-316E-1D3D71DF6AA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635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8" name="Text Box 1">
            <a:extLst>
              <a:ext uri="{FF2B5EF4-FFF2-40B4-BE49-F238E27FC236}">
                <a16:creationId xmlns:a16="http://schemas.microsoft.com/office/drawing/2014/main" id="{A4FE8203-E4D0-7D71-9DAB-DCD79DF294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0148" y="4165598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Box 2">
            <a:extLst>
              <a:ext uri="{FF2B5EF4-FFF2-40B4-BE49-F238E27FC236}">
                <a16:creationId xmlns:a16="http://schemas.microsoft.com/office/drawing/2014/main" id="{3893695E-4514-8C5C-A541-ACC2C0140D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8265" y="4165598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Box 3">
            <a:extLst>
              <a:ext uri="{FF2B5EF4-FFF2-40B4-BE49-F238E27FC236}">
                <a16:creationId xmlns:a16="http://schemas.microsoft.com/office/drawing/2014/main" id="{E6E126AC-28F0-4A7D-DC28-46188F46FAA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4913" y="4165598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Box 4">
            <a:extLst>
              <a:ext uri="{FF2B5EF4-FFF2-40B4-BE49-F238E27FC236}">
                <a16:creationId xmlns:a16="http://schemas.microsoft.com/office/drawing/2014/main" id="{9A2242AD-0A81-133A-985E-D1CF4585102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70020" y="4151084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10E05C-FACD-735A-D8B6-65B787A7C515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216BF9A-6BA6-35A3-FAD8-E4C7E65B2A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1349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FC92A1A9-8935-05F9-478C-509E31A7C35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65063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C90786FC-B649-5DE3-D2C4-49F260FE2D9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168776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34238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863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/</a:t>
            </a:r>
            <a:r>
              <a:rPr lang="fr-FR" err="1"/>
              <a:t>text</a:t>
            </a:r>
            <a:r>
              <a:rPr lang="fr-FR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67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4" cy="147732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1808821"/>
            <a:ext cx="7551996" cy="2154436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4" y="6031464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Subtitle</a:t>
            </a:r>
            <a:r>
              <a:rPr lang="en-GB"/>
              <a:t>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7" y="6875869"/>
            <a:ext cx="360037" cy="4572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40150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885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8050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144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48103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085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76981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504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6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7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13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7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6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6075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 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6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31516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ingle column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ingle column layout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A7685-C79C-C21F-A344-32CC624F8F20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690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6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28231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9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3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7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6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59086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9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3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7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6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23508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75400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51343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02503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43504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98960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36564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6314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nging sid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8339B-491C-FFB1-1D03-FBEC566DA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01874"/>
            <a:ext cx="3540125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2FEDE2-F5A1-7181-F7EE-8B93838D0D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2288" y="701675"/>
            <a:ext cx="7416800" cy="4959350"/>
          </a:xfrm>
        </p:spPr>
        <p:txBody>
          <a:bodyPr numCol="1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47454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51829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8956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4609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2770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7383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785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023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71352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17119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08615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9088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836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0910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04061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0346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95531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32253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x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5245E30C-ACBC-4426-8962-C03D3DB3F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FED60B5C-31E2-4ABE-BB94-6CC89A3FD7F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53284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7" name="Placeholder 3">
            <a:extLst>
              <a:ext uri="{FF2B5EF4-FFF2-40B4-BE49-F238E27FC236}">
                <a16:creationId xmlns:a16="http://schemas.microsoft.com/office/drawing/2014/main" id="{F0AC0C8B-24FF-433E-9C4D-B350C449B331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76263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8" name="Placeholder 4">
            <a:extLst>
              <a:ext uri="{FF2B5EF4-FFF2-40B4-BE49-F238E27FC236}">
                <a16:creationId xmlns:a16="http://schemas.microsoft.com/office/drawing/2014/main" id="{2293604D-A39C-4151-970A-A0EBEBFE9FBE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74577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4900393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9053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810856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8594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5830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48538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5068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9702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4312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99625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08885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75443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7118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27618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8696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268235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447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01718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gin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9300" y="2286000"/>
            <a:ext cx="5456880" cy="3662363"/>
          </a:xfr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E9919A9-E10C-40B2-4E9E-9822C6505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7452" y="701874"/>
            <a:ext cx="5481636" cy="1203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6845480-75B4-4B86-F67E-4E72A36623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5203" y="0"/>
            <a:ext cx="5479313" cy="5948363"/>
          </a:xfrm>
          <a:custGeom>
            <a:avLst/>
            <a:gdLst>
              <a:gd name="connsiteX0" fmla="*/ 0 w 5479313"/>
              <a:gd name="connsiteY0" fmla="*/ 0 h 5948363"/>
              <a:gd name="connsiteX1" fmla="*/ 5479313 w 5479313"/>
              <a:gd name="connsiteY1" fmla="*/ 0 h 5948363"/>
              <a:gd name="connsiteX2" fmla="*/ 5479313 w 5479313"/>
              <a:gd name="connsiteY2" fmla="*/ 5233658 h 5948363"/>
              <a:gd name="connsiteX3" fmla="*/ 4764608 w 5479313"/>
              <a:gd name="connsiteY3" fmla="*/ 5948363 h 5948363"/>
              <a:gd name="connsiteX4" fmla="*/ 0 w 547931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9313" h="5948363">
                <a:moveTo>
                  <a:pt x="0" y="0"/>
                </a:moveTo>
                <a:lnTo>
                  <a:pt x="5479313" y="0"/>
                </a:lnTo>
                <a:lnTo>
                  <a:pt x="5479313" y="5233658"/>
                </a:lnTo>
                <a:lnTo>
                  <a:pt x="4764608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260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07608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9783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018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37868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9507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9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19592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33523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7848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3122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12435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44993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69822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4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54953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4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86010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4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599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4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69261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gin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9D3931C-344A-A16B-9670-84E2DE4A2AE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62687" y="0"/>
            <a:ext cx="5479313" cy="5948363"/>
          </a:xfrm>
          <a:custGeom>
            <a:avLst/>
            <a:gdLst>
              <a:gd name="connsiteX0" fmla="*/ 0 w 5479313"/>
              <a:gd name="connsiteY0" fmla="*/ 0 h 5948363"/>
              <a:gd name="connsiteX1" fmla="*/ 5479313 w 5479313"/>
              <a:gd name="connsiteY1" fmla="*/ 0 h 5948363"/>
              <a:gd name="connsiteX2" fmla="*/ 5479313 w 5479313"/>
              <a:gd name="connsiteY2" fmla="*/ 5233658 h 5948363"/>
              <a:gd name="connsiteX3" fmla="*/ 4764608 w 5479313"/>
              <a:gd name="connsiteY3" fmla="*/ 5948363 h 5948363"/>
              <a:gd name="connsiteX4" fmla="*/ 0 w 547931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9313" h="5948363">
                <a:moveTo>
                  <a:pt x="0" y="0"/>
                </a:moveTo>
                <a:lnTo>
                  <a:pt x="5479313" y="0"/>
                </a:lnTo>
                <a:lnTo>
                  <a:pt x="5479313" y="5233658"/>
                </a:lnTo>
                <a:lnTo>
                  <a:pt x="4764608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999" y="1792800"/>
            <a:ext cx="5498363" cy="4155563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882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76083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8769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8656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02419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7" y="1993901"/>
            <a:ext cx="2378847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3" y="1993901"/>
            <a:ext cx="2378847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9" y="1993901"/>
            <a:ext cx="2378847" cy="3385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1"/>
            <a:ext cx="2378847" cy="3385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9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6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5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3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3463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7" y="1993901"/>
            <a:ext cx="2378847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3" y="1993901"/>
            <a:ext cx="2378847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9" y="1993901"/>
            <a:ext cx="2378847" cy="3385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1"/>
            <a:ext cx="2378847" cy="3385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9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6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5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3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 marL="758806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16636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5" y="263411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1" y="263411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5" y="1993899"/>
            <a:ext cx="3195009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2" y="1993899"/>
            <a:ext cx="3195009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4" y="1993899"/>
            <a:ext cx="3195009" cy="3385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56568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5" y="263411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1" y="263411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5" y="1993899"/>
            <a:ext cx="3195009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2" y="1993899"/>
            <a:ext cx="3195009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4" y="1993899"/>
            <a:ext cx="3195009" cy="3385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61101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66173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6040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7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975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me 1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2913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15" name="Placeholder 1">
            <a:extLst>
              <a:ext uri="{FF2B5EF4-FFF2-40B4-BE49-F238E27FC236}">
                <a16:creationId xmlns:a16="http://schemas.microsoft.com/office/drawing/2014/main" id="{A81DA3D4-EF88-48E1-A722-44D4D0FA1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913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0" name="Name 2">
            <a:extLst>
              <a:ext uri="{FF2B5EF4-FFF2-40B4-BE49-F238E27FC236}">
                <a16:creationId xmlns:a16="http://schemas.microsoft.com/office/drawing/2014/main" id="{71613F17-97E2-4491-9EF3-F01FFDE6E8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89282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1" name="Placeholder 2">
            <a:extLst>
              <a:ext uri="{FF2B5EF4-FFF2-40B4-BE49-F238E27FC236}">
                <a16:creationId xmlns:a16="http://schemas.microsoft.com/office/drawing/2014/main" id="{6F22912B-7D36-4077-8BFB-FDA6B7BA0E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89282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4" name="Name 3">
            <a:extLst>
              <a:ext uri="{FF2B5EF4-FFF2-40B4-BE49-F238E27FC236}">
                <a16:creationId xmlns:a16="http://schemas.microsoft.com/office/drawing/2014/main" id="{4ACD92D7-D8E5-4F1B-8FF3-A92BC817BD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35651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5" name="Placeholder 3">
            <a:extLst>
              <a:ext uri="{FF2B5EF4-FFF2-40B4-BE49-F238E27FC236}">
                <a16:creationId xmlns:a16="http://schemas.microsoft.com/office/drawing/2014/main" id="{459EAA34-4CBD-4836-8FB9-E4972A4D470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4491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95119930-DF3D-4F95-9821-DD803BEC06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82020" y="1728407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8" name="Placeholder 4">
            <a:extLst>
              <a:ext uri="{FF2B5EF4-FFF2-40B4-BE49-F238E27FC236}">
                <a16:creationId xmlns:a16="http://schemas.microsoft.com/office/drawing/2014/main" id="{F1EC47F3-3364-4097-9549-A48AAC2F52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8930" y="4149440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0" name="Name 5">
            <a:extLst>
              <a:ext uri="{FF2B5EF4-FFF2-40B4-BE49-F238E27FC236}">
                <a16:creationId xmlns:a16="http://schemas.microsoft.com/office/drawing/2014/main" id="{8BC3BB59-8297-4139-8EEB-7AA6A36205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28389" y="1728407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31" name="Placeholder 5">
            <a:extLst>
              <a:ext uri="{FF2B5EF4-FFF2-40B4-BE49-F238E27FC236}">
                <a16:creationId xmlns:a16="http://schemas.microsoft.com/office/drawing/2014/main" id="{3539E75B-AA24-4E49-B21A-8AAB8E62C4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93369" y="4149440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3" name="Name 6">
            <a:extLst>
              <a:ext uri="{FF2B5EF4-FFF2-40B4-BE49-F238E27FC236}">
                <a16:creationId xmlns:a16="http://schemas.microsoft.com/office/drawing/2014/main" id="{3F21806D-0731-464D-A660-3F50C5CAF6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174757" y="1714892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34" name="Placeholder 6">
            <a:extLst>
              <a:ext uri="{FF2B5EF4-FFF2-40B4-BE49-F238E27FC236}">
                <a16:creationId xmlns:a16="http://schemas.microsoft.com/office/drawing/2014/main" id="{E534BACD-3BA5-4149-ABE3-6C66E16EC23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127809" y="4135925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ADF9F4-0984-90BB-D24E-468E60FF0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Biographies / Team Slid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AACEFD-B915-0A46-F0D5-18898F9C42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2913" y="242545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0929D50-022D-171B-E0D9-189219148AF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389282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5252DD7-7237-AE6F-A768-127C2A883C8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324491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54F9465-CEA1-9BEA-65BC-07DE517E4AC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58930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1BCF32-98B4-EADC-44D5-5CEA937094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93369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9DEB166-4C7E-A020-1149-92ACB95FF7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0127809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9903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94629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7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66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7732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279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3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4431075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8697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499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704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357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035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68141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77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326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1898850"/>
            <a:ext cx="6603801" cy="715669"/>
          </a:xfrm>
        </p:spPr>
        <p:txBody>
          <a:bodyPr/>
          <a:lstStyle>
            <a:lvl1pPr>
              <a:lnSpc>
                <a:spcPct val="100000"/>
              </a:lnSpc>
              <a:defRPr sz="3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Quote or statement here – </a:t>
            </a:r>
            <a:br>
              <a:rPr lang="en-US" dirty="0"/>
            </a:br>
            <a:r>
              <a:rPr lang="en-US" dirty="0"/>
              <a:t>only black text is fully accessible on teal, green or orange</a:t>
            </a:r>
            <a:endParaRPr lang="en-GB" dirty="0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7BBA45-30B2-1AE1-4D29-166B974CDEE5}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BE389E3-E2EF-EDE2-E4A2-16BA15C4F331}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2987A6-2A9A-15B5-784A-8648882BE9C2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6" name="Classification">
            <a:extLst>
              <a:ext uri="{FF2B5EF4-FFF2-40B4-BE49-F238E27FC236}">
                <a16:creationId xmlns:a16="http://schemas.microsoft.com/office/drawing/2014/main" id="{CB155B53-C991-F3E5-6D95-E75CE4A44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75859E8-09A5-D728-5408-AF719E295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29517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64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138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61489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5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5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5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567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08102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5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5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5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104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43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0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852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3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7536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82784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1570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5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2512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24" y="1092494"/>
            <a:ext cx="5391605" cy="715669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lassification">
            <a:extLst>
              <a:ext uri="{FF2B5EF4-FFF2-40B4-BE49-F238E27FC236}">
                <a16:creationId xmlns:a16="http://schemas.microsoft.com/office/drawing/2014/main" id="{A2DBDE31-A0D1-C0E0-CFCE-D83929DAC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69577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C8B51E2-FAFB-6EB4-638C-72A28E67F8E1}"/>
              </a:ext>
            </a:extLst>
          </p:cNvPr>
          <p:cNvSpPr/>
          <p:nvPr/>
        </p:nvSpPr>
        <p:spPr>
          <a:xfrm rot="16200000">
            <a:off x="3619500" y="-1714500"/>
            <a:ext cx="6858000" cy="10287000"/>
          </a:xfrm>
          <a:custGeom>
            <a:avLst/>
            <a:gdLst>
              <a:gd name="connsiteX0" fmla="*/ 6858000 w 6858000"/>
              <a:gd name="connsiteY0" fmla="*/ 6858000 h 10287000"/>
              <a:gd name="connsiteX1" fmla="*/ 6858000 w 6858000"/>
              <a:gd name="connsiteY1" fmla="*/ 10287000 h 10287000"/>
              <a:gd name="connsiteX2" fmla="*/ 3370139 w 6858000"/>
              <a:gd name="connsiteY2" fmla="*/ 10287000 h 10287000"/>
              <a:gd name="connsiteX3" fmla="*/ 0 w 6858000"/>
              <a:gd name="connsiteY3" fmla="*/ 6916861 h 10287000"/>
              <a:gd name="connsiteX4" fmla="*/ 0 w 6858000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0287000">
                <a:moveTo>
                  <a:pt x="6858000" y="6858000"/>
                </a:moveTo>
                <a:lnTo>
                  <a:pt x="6858000" y="10287000"/>
                </a:lnTo>
                <a:lnTo>
                  <a:pt x="3370139" y="10287000"/>
                </a:lnTo>
                <a:lnTo>
                  <a:pt x="0" y="691686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D0EB7A7D-8D5E-F9FC-C8D3-285DE34876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3551238" cy="127476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D9F6842-DC6A-38D0-9815-9F77EC5535C5}"/>
              </a:ext>
            </a:extLst>
          </p:cNvPr>
          <p:cNvSpPr/>
          <p:nvPr userDrawn="1"/>
        </p:nvSpPr>
        <p:spPr>
          <a:xfrm rot="16200000">
            <a:off x="3619500" y="-1714500"/>
            <a:ext cx="6858000" cy="10287000"/>
          </a:xfrm>
          <a:custGeom>
            <a:avLst/>
            <a:gdLst>
              <a:gd name="connsiteX0" fmla="*/ 6858000 w 6858000"/>
              <a:gd name="connsiteY0" fmla="*/ 6858000 h 10287000"/>
              <a:gd name="connsiteX1" fmla="*/ 6858000 w 6858000"/>
              <a:gd name="connsiteY1" fmla="*/ 10287000 h 10287000"/>
              <a:gd name="connsiteX2" fmla="*/ 3370139 w 6858000"/>
              <a:gd name="connsiteY2" fmla="*/ 10287000 h 10287000"/>
              <a:gd name="connsiteX3" fmla="*/ 0 w 6858000"/>
              <a:gd name="connsiteY3" fmla="*/ 6916861 h 10287000"/>
              <a:gd name="connsiteX4" fmla="*/ 0 w 6858000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0287000">
                <a:moveTo>
                  <a:pt x="6858000" y="6858000"/>
                </a:moveTo>
                <a:lnTo>
                  <a:pt x="6858000" y="10287000"/>
                </a:lnTo>
                <a:lnTo>
                  <a:pt x="3370139" y="10287000"/>
                </a:lnTo>
                <a:lnTo>
                  <a:pt x="0" y="691686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9C2A959-0D95-560C-4CF2-7A757051C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343676"/>
      </p:ext>
    </p:extLst>
  </p:cSld>
  <p:clrMapOvr>
    <a:masterClrMapping/>
  </p:clrMapOvr>
  <p:hf hdr="0" ft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9" y="1903446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5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11031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8" y="521854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4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3" y="4402899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4" y="4014515"/>
            <a:ext cx="2486309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3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57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7584907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9" y="135768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095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_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5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7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4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3" y="4402899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8" y="521854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4" y="4014515"/>
            <a:ext cx="2486309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3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677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394590"/>
            <a:ext cx="7551996" cy="954108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7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27" indent="-450827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51" indent="-314309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89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688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732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13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945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4" cy="147732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6" y="1808822"/>
            <a:ext cx="7551996" cy="2154436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5" y="6031465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Subtitle</a:t>
            </a:r>
            <a:r>
              <a:rPr lang="en-GB"/>
              <a:t>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8" y="6875869"/>
            <a:ext cx="360037" cy="4572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927085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61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5765600" cy="715669"/>
          </a:xfrm>
        </p:spPr>
        <p:txBody>
          <a:bodyPr/>
          <a:lstStyle>
            <a:lvl1pPr>
              <a:defRPr sz="48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CCE9AAD8-E91C-C496-B418-A50607DEBA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000"/>
            <a:ext cx="3851275" cy="1274763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8577957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BFBDEA92-538F-3B81-D73E-A3E28F80C016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GB" dirty="0"/>
              <a:t>Full bleed video</a:t>
            </a:r>
          </a:p>
        </p:txBody>
      </p:sp>
    </p:spTree>
    <p:extLst>
      <p:ext uri="{BB962C8B-B14F-4D97-AF65-F5344CB8AC3E}">
        <p14:creationId xmlns:p14="http://schemas.microsoft.com/office/powerpoint/2010/main" val="124858965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80502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252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48103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761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76981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4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4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3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00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7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7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43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7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7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1283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 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7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58387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7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481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70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4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7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18170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70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4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7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67746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55560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ull blee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 Photo">
            <a:extLst>
              <a:ext uri="{FF2B5EF4-FFF2-40B4-BE49-F238E27FC236}">
                <a16:creationId xmlns:a16="http://schemas.microsoft.com/office/drawing/2014/main" id="{F9C24E1D-7E68-48BF-A685-1162607AF1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880000" rtlCol="0" anchor="b">
            <a:noAutofit/>
          </a:bodyPr>
          <a:lstStyle>
            <a:lvl1pPr>
              <a:defRPr lang="en-GB" sz="1600" b="1" dirty="0"/>
            </a:lvl1pPr>
          </a:lstStyle>
          <a:p>
            <a:pPr lvl="0" algn="ctr"/>
            <a:r>
              <a:rPr lang="en-GB" dirty="0"/>
              <a:t>Click icon to add imag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450000"/>
            <a:ext cx="3962343" cy="3742438"/>
          </a:xfrm>
        </p:spPr>
        <p:txBody>
          <a:bodyPr anchor="t"/>
          <a:lstStyle>
            <a:lvl1pPr>
              <a:lnSpc>
                <a:spcPct val="100000"/>
              </a:lnSpc>
              <a:defRPr sz="4000" cap="none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 text background image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CCAC37C-0D5D-E65B-09A2-608E6183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873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57964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98617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75443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10555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6778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73878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76528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89567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47216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4149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73831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01481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or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8B69072-8F91-57EB-1C5E-B1807F8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733800 h 6858000"/>
              <a:gd name="connsiteX3" fmla="*/ 90678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733800"/>
                </a:lnTo>
                <a:lnTo>
                  <a:pt x="90678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GB" dirty="0"/>
              <a:t>Click icon in centre to add image</a:t>
            </a:r>
            <a:br>
              <a:rPr lang="en-GB" dirty="0"/>
            </a:br>
            <a:r>
              <a:rPr lang="en-GB" dirty="0"/>
              <a:t>Send image to back so elements show on the page</a:t>
            </a:r>
          </a:p>
          <a:p>
            <a:pPr lvl="0" algn="ctr"/>
            <a:endParaRPr lang="en-GB" dirty="0"/>
          </a:p>
          <a:p>
            <a:pPr lvl="0" algn="ctr"/>
            <a:endParaRPr lang="en-GB" dirty="0"/>
          </a:p>
          <a:p>
            <a:pPr lvl="0" algn="ctr"/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0000" y="811950"/>
            <a:ext cx="5407103" cy="3742438"/>
          </a:xfrm>
        </p:spPr>
        <p:txBody>
          <a:bodyPr anchor="t"/>
          <a:lstStyle>
            <a:lvl1pPr>
              <a:defRPr sz="36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Summary text background image (text can be recoloured depending on image colour)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C6EB0DD-63C6-F7C4-F6E3-8D156B6157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6820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0236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8272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17119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28303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90885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750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09107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79097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03460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66378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8152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90537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194930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85942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32360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8006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67723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er">
            <a:extLst>
              <a:ext uri="{FF2B5EF4-FFF2-40B4-BE49-F238E27FC236}">
                <a16:creationId xmlns:a16="http://schemas.microsoft.com/office/drawing/2014/main" id="{6953A8D2-20EB-4DFB-893E-8DCA6475D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9450" y="-775597"/>
            <a:ext cx="9341700" cy="7755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– KEEP HERE FOR ACCESSIBILITY</a:t>
            </a:r>
            <a:endParaRPr lang="en-GB" dirty="0"/>
          </a:p>
        </p:txBody>
      </p:sp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900" y="2110704"/>
            <a:ext cx="8181699" cy="2636591"/>
          </a:xfrm>
        </p:spPr>
        <p:txBody>
          <a:bodyPr anchor="t">
            <a:normAutofit/>
          </a:bodyPr>
          <a:lstStyle>
            <a:lvl1pPr marL="0" indent="0">
              <a:buNone/>
              <a:defRPr sz="3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9AD269-0E94-5F57-BE08-5E10A41EC965}"/>
              </a:ext>
            </a:extLst>
          </p:cNvPr>
          <p:cNvSpPr/>
          <p:nvPr/>
        </p:nvSpPr>
        <p:spPr>
          <a:xfrm rot="5400000">
            <a:off x="-3945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4A53C-A760-B980-C1BA-3D631697281C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467DB697-633F-AE80-3288-0093F641E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AD1135DF-99C2-8442-95A0-2BE142A567EA}"/>
              </a:ext>
            </a:extLst>
          </p:cNvPr>
          <p:cNvSpPr/>
          <p:nvPr userDrawn="1"/>
        </p:nvSpPr>
        <p:spPr>
          <a:xfrm rot="5400000">
            <a:off x="-3945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D8342E7-3A65-C949-FF97-239FDBE26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622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46669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43122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713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08885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2002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7118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9725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86965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51" indent="-314309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949681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4475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87988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07608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63606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018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081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95075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7582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33523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51921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ty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er">
            <a:extLst>
              <a:ext uri="{FF2B5EF4-FFF2-40B4-BE49-F238E27FC236}">
                <a16:creationId xmlns:a16="http://schemas.microsoft.com/office/drawing/2014/main" id="{6953A8D2-20EB-4DFB-893E-8DCA6475D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9450" y="-775597"/>
            <a:ext cx="9341700" cy="7755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– KEEP HERE FOR ACCESSIBILITY</a:t>
            </a:r>
            <a:endParaRPr lang="en-GB" dirty="0"/>
          </a:p>
        </p:txBody>
      </p:sp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900" y="2110704"/>
            <a:ext cx="8181699" cy="2636591"/>
          </a:xfrm>
        </p:spPr>
        <p:txBody>
          <a:bodyPr anchor="t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9AD269-0E94-5F57-BE08-5E10A41EC965}"/>
              </a:ext>
            </a:extLst>
          </p:cNvPr>
          <p:cNvSpPr/>
          <p:nvPr userDrawn="1"/>
        </p:nvSpPr>
        <p:spPr>
          <a:xfrm rot="16200000">
            <a:off x="9067800" y="3733799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4A53C-A760-B980-C1BA-3D631697281C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467DB697-633F-AE80-3288-0093F641E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07B1A339-6C75-07F1-9C25-457A1585ABE5}"/>
              </a:ext>
            </a:extLst>
          </p:cNvPr>
          <p:cNvSpPr/>
          <p:nvPr userDrawn="1"/>
        </p:nvSpPr>
        <p:spPr>
          <a:xfrm rot="16200000">
            <a:off x="9067800" y="3748313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234F138-613C-0A6C-F7CB-DEA6C97A31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3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31222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19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5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2346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07180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69822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5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0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2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5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09992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0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2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5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5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9991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5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0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2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5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42421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5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0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2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5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20411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0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2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97513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0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2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25448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0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2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39333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51" lvl="1" indent="-314309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0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2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77208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key poi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55C23FA-A39C-47E2-B32E-D31B7F81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3 key points layout</a:t>
            </a:r>
            <a:endParaRPr lang="en-GB" dirty="0"/>
          </a:p>
        </p:txBody>
      </p:sp>
      <p:sp>
        <p:nvSpPr>
          <p:cNvPr id="23" name="No. 1">
            <a:extLst>
              <a:ext uri="{FF2B5EF4-FFF2-40B4-BE49-F238E27FC236}">
                <a16:creationId xmlns:a16="http://schemas.microsoft.com/office/drawing/2014/main" id="{8933E780-68DF-AEFF-FB64-64A8AC3BC8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4599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F07BEC-475C-D95A-2313-6FF423D6911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9999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No. 2">
            <a:extLst>
              <a:ext uri="{FF2B5EF4-FFF2-40B4-BE49-F238E27FC236}">
                <a16:creationId xmlns:a16="http://schemas.microsoft.com/office/drawing/2014/main" id="{30E98F8F-3061-8682-1A3F-E78E0C8D3F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98690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12F4A0-FD3C-1B4E-7C0D-A6CD56FB0F3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2287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No. 3">
            <a:extLst>
              <a:ext uri="{FF2B5EF4-FFF2-40B4-BE49-F238E27FC236}">
                <a16:creationId xmlns:a16="http://schemas.microsoft.com/office/drawing/2014/main" id="{60835E92-0DA1-DBA3-87F3-D6CA2B63B0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62924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rgbClr val="E3D8F0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5EC94-06CC-02DF-99F1-D843B6EC5E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20073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94FC2C-B470-E22E-D383-B44D7B951CD9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4" name="Classification">
            <a:extLst>
              <a:ext uri="{FF2B5EF4-FFF2-40B4-BE49-F238E27FC236}">
                <a16:creationId xmlns:a16="http://schemas.microsoft.com/office/drawing/2014/main" id="{67B23A15-646C-F76F-AD69-AE049FD50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C5EA47B-0866-1154-09FC-C7C7B64197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963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8" y="1993902"/>
            <a:ext cx="2378847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4" y="1993902"/>
            <a:ext cx="2378847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10" y="1993902"/>
            <a:ext cx="2378847" cy="3385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5" y="1993902"/>
            <a:ext cx="2378847" cy="3385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90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7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6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5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46451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8" y="1993902"/>
            <a:ext cx="2378847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4" y="1993902"/>
            <a:ext cx="2378847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10" y="1993902"/>
            <a:ext cx="2378847" cy="3385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5" y="1993902"/>
            <a:ext cx="2378847" cy="3385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90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7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6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5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 marL="758788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1926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6" y="2634119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5" y="2634119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1" y="2634119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6" y="1993899"/>
            <a:ext cx="3195009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3" y="1993899"/>
            <a:ext cx="3195009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5" y="1993899"/>
            <a:ext cx="3195009" cy="3385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63406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6" y="2634119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5" y="2634119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1" y="2634119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51" indent="-314309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6" y="1993899"/>
            <a:ext cx="3195009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3" y="1993899"/>
            <a:ext cx="3195009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5" y="1993899"/>
            <a:ext cx="3195009" cy="3385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2989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56309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4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4431075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55823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591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077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099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296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x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B80FCDC1-4ADD-40AF-8A4F-44573B125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5456880" cy="3861312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3992" y="1808163"/>
            <a:ext cx="5456880" cy="3861312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83761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26B43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0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6823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83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00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83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3" indent="0" algn="ctr">
              <a:buNone/>
              <a:defRPr/>
            </a:lvl2pPr>
            <a:lvl3pPr marL="542898" indent="0" algn="ctr">
              <a:buNone/>
              <a:defRPr/>
            </a:lvl3pPr>
            <a:lvl4pPr marL="758788" indent="0" algn="ctr">
              <a:buNone/>
              <a:defRPr/>
            </a:lvl4pPr>
            <a:lvl5pPr marL="1033411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13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98691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6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6" indent="-88896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6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6" indent="-88896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6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6" indent="-88896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6" y="6135731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506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08102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6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6" indent="-88896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6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6" indent="-88896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6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6" indent="-88896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6" y="6135731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9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457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007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4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933959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2249714"/>
            <a:ext cx="3527425" cy="36986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15FE5BE-74FF-2205-1A8F-C1AA45D1D8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32288" y="0"/>
            <a:ext cx="7410450" cy="5948363"/>
          </a:xfrm>
          <a:custGeom>
            <a:avLst/>
            <a:gdLst>
              <a:gd name="connsiteX0" fmla="*/ 0 w 7410450"/>
              <a:gd name="connsiteY0" fmla="*/ 0 h 5948363"/>
              <a:gd name="connsiteX1" fmla="*/ 7410450 w 7410450"/>
              <a:gd name="connsiteY1" fmla="*/ 0 h 5948363"/>
              <a:gd name="connsiteX2" fmla="*/ 7410450 w 7410450"/>
              <a:gd name="connsiteY2" fmla="*/ 4975605 h 5948363"/>
              <a:gd name="connsiteX3" fmla="*/ 6437692 w 7410450"/>
              <a:gd name="connsiteY3" fmla="*/ 5948363 h 5948363"/>
              <a:gd name="connsiteX4" fmla="*/ 0 w 7410450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0450" h="5948363">
                <a:moveTo>
                  <a:pt x="0" y="0"/>
                </a:moveTo>
                <a:lnTo>
                  <a:pt x="7410450" y="0"/>
                </a:lnTo>
                <a:lnTo>
                  <a:pt x="7410450" y="4975605"/>
                </a:lnTo>
                <a:lnTo>
                  <a:pt x="6437692" y="5948363"/>
                </a:lnTo>
                <a:lnTo>
                  <a:pt x="0" y="5948363"/>
                </a:lnTo>
                <a:close/>
              </a:path>
            </a:pathLst>
          </a:cu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insert ima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EFA78C8-BF85-C18D-67D3-7D18DF4C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3520338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1964614"/>
      </p:ext>
    </p:extLst>
  </p:cSld>
  <p:clrMapOvr>
    <a:masterClrMapping/>
  </p:clrMapOvr>
  <p:hf hdr="0" ft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8" y="521855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4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3" y="4402899"/>
            <a:ext cx="1697939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6" y="4014515"/>
            <a:ext cx="2486309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5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403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7584907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90" y="1357682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9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6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9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4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3" y="4402899"/>
            <a:ext cx="1697939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8" y="521855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6" y="4014515"/>
            <a:ext cx="2486309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5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318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394591"/>
            <a:ext cx="7551996" cy="954108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7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15" indent="-450815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39" indent="-314301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88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05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574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018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053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4" cy="147732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7" y="1808823"/>
            <a:ext cx="7551996" cy="2154436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7" y="6031467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Subtitle</a:t>
            </a:r>
            <a:r>
              <a:rPr lang="en-GB"/>
              <a:t>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8" y="6875869"/>
            <a:ext cx="360037" cy="4572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45589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52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80502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860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88DD43FA-3336-4415-A3A6-54EA3C9BB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4232" y="450000"/>
            <a:ext cx="3526688" cy="1116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3183" y="2293257"/>
            <a:ext cx="3526689" cy="3655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01481FF-ECD9-985C-6949-42B804BF0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1476" y="0"/>
            <a:ext cx="7398237" cy="5948363"/>
          </a:xfrm>
          <a:custGeom>
            <a:avLst/>
            <a:gdLst>
              <a:gd name="connsiteX0" fmla="*/ 0 w 7398237"/>
              <a:gd name="connsiteY0" fmla="*/ 0 h 5948363"/>
              <a:gd name="connsiteX1" fmla="*/ 7398237 w 7398237"/>
              <a:gd name="connsiteY1" fmla="*/ 0 h 5948363"/>
              <a:gd name="connsiteX2" fmla="*/ 7398237 w 7398237"/>
              <a:gd name="connsiteY2" fmla="*/ 4958167 h 5948363"/>
              <a:gd name="connsiteX3" fmla="*/ 6408041 w 7398237"/>
              <a:gd name="connsiteY3" fmla="*/ 5948363 h 5948363"/>
              <a:gd name="connsiteX4" fmla="*/ 0 w 7398237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8237" h="5948363">
                <a:moveTo>
                  <a:pt x="0" y="0"/>
                </a:moveTo>
                <a:lnTo>
                  <a:pt x="7398237" y="0"/>
                </a:lnTo>
                <a:lnTo>
                  <a:pt x="7398237" y="4958167"/>
                </a:lnTo>
                <a:lnTo>
                  <a:pt x="6408041" y="5948363"/>
                </a:lnTo>
                <a:lnTo>
                  <a:pt x="0" y="5948363"/>
                </a:lnTo>
                <a:close/>
              </a:path>
            </a:pathLst>
          </a:cu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47312511"/>
      </p:ext>
    </p:extLst>
  </p:cSld>
  <p:clrMapOvr>
    <a:masterClrMapping/>
  </p:clrMapOvr>
  <p:hf hdr="0" ft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48103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35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769815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3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5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6" y="3288"/>
            <a:ext cx="2047569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6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4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2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9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7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116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7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9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46828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 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9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5045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9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43706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9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72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6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40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9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40020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9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72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6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40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9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07337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96127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57919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diagram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3149600"/>
            <a:ext cx="3527425" cy="27987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hart / Diagram">
            <a:extLst>
              <a:ext uri="{FF2B5EF4-FFF2-40B4-BE49-F238E27FC236}">
                <a16:creationId xmlns:a16="http://schemas.microsoft.com/office/drawing/2014/main" id="{F20073CF-87BF-427F-936A-47B5E1B160C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83075" y="692150"/>
            <a:ext cx="7466013" cy="525621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rea for diagram/chart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C028A4-1CB4-EB71-790E-1C2A8CEDA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3520338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7548909"/>
      </p:ext>
    </p:extLst>
  </p:cSld>
  <p:clrMapOvr>
    <a:masterClrMapping/>
  </p:clrMapOvr>
  <p:hf hdr="0" ft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84146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47538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89110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1682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36123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65817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89567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20331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6246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738313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09359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0236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90027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TY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5391605" cy="154910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287001" cy="68580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87001" h="68580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lnTo>
                  <a:pt x="6896100" y="6858000"/>
                </a:lnTo>
                <a:lnTo>
                  <a:pt x="0" y="6858000"/>
                </a:lnTo>
                <a:close/>
              </a:path>
            </a:pathLst>
          </a:custGeom>
          <a:pattFill prst="dk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433BB7AA-54DD-4BAB-0FD5-D287A85CE4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000"/>
            <a:ext cx="4038600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17950891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A52833-39E6-9C79-CAB3-DC23900DC7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0724" y="0"/>
            <a:ext cx="10205810" cy="6858000"/>
          </a:xfrm>
          <a:custGeom>
            <a:avLst/>
            <a:gdLst>
              <a:gd name="connsiteX0" fmla="*/ 6858000 w 10205810"/>
              <a:gd name="connsiteY0" fmla="*/ 0 h 6858000"/>
              <a:gd name="connsiteX1" fmla="*/ 10205810 w 10205810"/>
              <a:gd name="connsiteY1" fmla="*/ 0 h 6858000"/>
              <a:gd name="connsiteX2" fmla="*/ 10205810 w 10205810"/>
              <a:gd name="connsiteY2" fmla="*/ 6858000 h 6858000"/>
              <a:gd name="connsiteX3" fmla="*/ 0 w 1020581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05810" h="6858000">
                <a:moveTo>
                  <a:pt x="6858000" y="0"/>
                </a:moveTo>
                <a:lnTo>
                  <a:pt x="10205810" y="0"/>
                </a:lnTo>
                <a:lnTo>
                  <a:pt x="1020581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bIns="2880000" anchor="b">
            <a:noAutofit/>
          </a:bodyPr>
          <a:lstStyle>
            <a:lvl1pPr algn="ctr">
              <a:defRPr sz="1600" b="1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8B1008-691B-2905-EF01-F1E5DA88F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6255600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ECD6FAED-FE49-D7A6-F947-84218F633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54026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tx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8563C0F-140E-C44F-13AA-9936BA1F62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096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17119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34887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90885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7874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09107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80830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034609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1015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61102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90537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613016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859423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02800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8463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0898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5467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half hanging bo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D3D8EE6-A539-C0F7-857D-88B6300E20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6253799 w 12192000"/>
              <a:gd name="connsiteY1" fmla="*/ 0 h 6858000"/>
              <a:gd name="connsiteX2" fmla="*/ 6253799 w 12192000"/>
              <a:gd name="connsiteY2" fmla="*/ 5948363 h 6858000"/>
              <a:gd name="connsiteX3" fmla="*/ 11065173 w 12192000"/>
              <a:gd name="connsiteY3" fmla="*/ 5948363 h 6858000"/>
              <a:gd name="connsiteX4" fmla="*/ 11752162 w 12192000"/>
              <a:gd name="connsiteY4" fmla="*/ 5258704 h 6858000"/>
              <a:gd name="connsiteX5" fmla="*/ 11752162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6253799" y="0"/>
                </a:lnTo>
                <a:lnTo>
                  <a:pt x="6253799" y="5948363"/>
                </a:lnTo>
                <a:lnTo>
                  <a:pt x="11065173" y="5948363"/>
                </a:lnTo>
                <a:lnTo>
                  <a:pt x="11752162" y="5258704"/>
                </a:lnTo>
                <a:lnTo>
                  <a:pt x="11752162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619" y="2301240"/>
            <a:ext cx="5498363" cy="3359785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1609AF-5375-B754-F2E7-A839AEF1C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710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43122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16728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08885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4571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7118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44397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86965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39" indent="-314301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64368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4475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0286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07608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1" y="1808820"/>
            <a:ext cx="551119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9805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018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8184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95075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71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52200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335238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58059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312225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7" y="382820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1" y="1808820"/>
            <a:ext cx="2667155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39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15514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377"/>
            <a:fld id="{D61AABEC-672F-4B68-B914-690DA978312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r>
              <a:rPr lang="en-GB">
                <a:solidFill>
                  <a:prstClr val="black">
                    <a:tint val="75000"/>
                  </a:prstClr>
                </a:solidFill>
              </a:rPr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7" y="1368597"/>
            <a:ext cx="2295034" cy="31675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6003376"/>
            <a:ext cx="11463417" cy="126701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15542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8386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69822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9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2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3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57833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9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2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3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21057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9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2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3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9600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9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82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7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71" y="1993902"/>
            <a:ext cx="2378847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83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7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71" y="2785487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7419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3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3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4999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3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3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44981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3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3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02284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1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8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39" lvl="1" indent="-314301" algn="l" defTabSz="914332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52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3" y="1993902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3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08084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9" y="1993902"/>
            <a:ext cx="2378847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5" y="1993902"/>
            <a:ext cx="2378847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11" y="1993902"/>
            <a:ext cx="2378847" cy="3385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6" y="1993902"/>
            <a:ext cx="2378847" cy="3385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91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9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7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6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21863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D4F71EA-EC29-D948-BC42-472164DAE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F2CCD-3C0C-5A4F-8949-91E5D5F35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7245F-3635-B547-8EB4-60DAED56B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73279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9" y="1993902"/>
            <a:ext cx="2378847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5" y="1993902"/>
            <a:ext cx="2378847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11" y="1993902"/>
            <a:ext cx="2378847" cy="3385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6" y="1993902"/>
            <a:ext cx="2378847" cy="3385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91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9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7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6" y="2634118"/>
            <a:ext cx="2378847" cy="1446550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 marL="758769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04834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7" y="2634120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5" y="2634120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1" y="2634120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8" y="1993899"/>
            <a:ext cx="3195009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4" y="1993899"/>
            <a:ext cx="3195009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6" y="1993899"/>
            <a:ext cx="3195009" cy="3385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78035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7" y="2634120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5" y="2634120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1" y="2634120"/>
            <a:ext cx="3195011" cy="12003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39" indent="-314301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8" y="1993899"/>
            <a:ext cx="3195009" cy="338554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4" y="1993899"/>
            <a:ext cx="3195009" cy="338554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6" y="1993899"/>
            <a:ext cx="3195009" cy="3385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94200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05740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5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4431075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3" y="1368601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76895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015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631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06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252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301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49907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s Only - No wayfinder i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09838" y="331099"/>
            <a:ext cx="1153946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>
                <a:solidFill>
                  <a:srgbClr val="6D95A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506593" y="6458710"/>
            <a:ext cx="342705" cy="158671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r" defTabSz="924260" rtl="0" eaLnBrk="1" latinLnBrk="0" hangingPunct="1">
              <a:lnSpc>
                <a:spcPct val="85000"/>
              </a:lnSpc>
              <a:spcBef>
                <a:spcPts val="204"/>
              </a:spcBef>
            </a:pPr>
            <a:fld id="{01990C03-C3A3-48FE-AF6D-3AE397C89625}" type="slidenum">
              <a:rPr lang="en-GB" sz="800" kern="1200" smtClean="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+mn-cs"/>
              </a:rPr>
              <a:pPr marL="0" algn="r" defTabSz="924260" rtl="0" eaLnBrk="1" latinLnBrk="0" hangingPunct="1">
                <a:lnSpc>
                  <a:spcPct val="85000"/>
                </a:lnSpc>
                <a:spcBef>
                  <a:spcPts val="204"/>
                </a:spcBef>
              </a:pPr>
              <a:t>‹#›</a:t>
            </a:fld>
            <a:endParaRPr lang="en-GB" sz="900" kern="1200" dirty="0">
              <a:solidFill>
                <a:schemeClr val="bg2"/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712592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3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75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3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752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3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599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3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72"/>
            <a:ext cx="312148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39" indent="0" algn="ctr">
              <a:buNone/>
              <a:defRPr/>
            </a:lvl2pPr>
            <a:lvl3pPr marL="542885" indent="0" algn="ctr">
              <a:buNone/>
              <a:defRPr/>
            </a:lvl3pPr>
            <a:lvl4pPr marL="758769" indent="0" algn="ctr">
              <a:buNone/>
              <a:defRPr/>
            </a:lvl4pPr>
            <a:lvl5pPr marL="1033385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22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73439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7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4" indent="-88894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7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4" indent="-88894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7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4" indent="-88894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7" y="6135733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51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081029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7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4" indent="-88894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7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4" indent="-88894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7"/>
            <a:ext cx="3121480" cy="661720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4" indent="-88894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7" y="6135733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6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20" y="621923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998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983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5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90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39" indent="0">
              <a:buNone/>
              <a:defRPr/>
            </a:lvl2pPr>
            <a:lvl3pPr marL="542885" indent="0">
              <a:buNone/>
              <a:defRPr/>
            </a:lvl3pPr>
            <a:lvl4pPr marL="758769" indent="0">
              <a:buNone/>
              <a:defRPr/>
            </a:lvl4pPr>
            <a:lvl5pPr marL="103338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749085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9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3" indent="0">
              <a:buNone/>
              <a:defRPr/>
            </a:lvl2pPr>
            <a:lvl3pPr marL="542898" indent="0">
              <a:buNone/>
              <a:defRPr/>
            </a:lvl3pPr>
            <a:lvl4pPr marL="758788" indent="0">
              <a:buNone/>
              <a:defRPr/>
            </a:lvl4pPr>
            <a:lvl5pPr marL="1033411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2" y="1368599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960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 - No wayfinder i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506590" y="6458709"/>
            <a:ext cx="342705" cy="158671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r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+mn-cs"/>
              </a:rPr>
              <a:pPr marL="0" algn="r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#›</a:t>
            </a:fld>
            <a:endParaRPr lang="en-GB" sz="1200" kern="1200" dirty="0">
              <a:solidFill>
                <a:schemeClr val="bg2"/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875092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9D0BF-F8D7-8E57-C35E-8B22974E1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632615-6F4A-73E0-E1A1-059B82F91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A29D9A-E307-8131-3D52-F23165B93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C9EA8-9391-5965-4199-44075DC86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3B8AD0-2133-3C2F-86A3-364F48D22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95761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9BF1F-A2A4-CEF6-1044-AD1E33385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539B45-4490-E83B-4A2D-62F3B6B8FE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C4F275-E560-040F-A63A-9BD672287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F17609-37E5-4B79-067F-552616D76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66154A-F800-4DF1-CA9C-EC539E17B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38121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92692-5F3D-0FDF-0ED1-AF41F8806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8FCDA-4E01-0ED3-8993-9709D55F6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71864-F486-B877-048D-D9452C97F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47388-839C-D214-1865-4A8F5615A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AF268-047F-F269-8B3D-E2E9B9F12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33454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85B7-D31B-DB86-17D8-46D69BFA3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A7E2A-7A78-1292-0A58-5FBF75AFB9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524C77-8C33-CBCF-1BF4-8B38683281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43A743-3C0D-2955-05B3-FBF74DD5F7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2F212D-2AE7-8763-A93D-21662D355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692E63-B697-DAF4-CE2A-29B681B16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5630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0F672-1595-CD2C-1C6E-2064DCB73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29BC68-25A4-246A-822E-685A6F3ACA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A29C2A-83D0-1005-1E82-E5E7482830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BEFF05-D6AC-1493-AB60-A1D877C4E7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D9B568-202E-3A36-BA15-06E709AB27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CBA0DEB-74AE-CA99-AE07-5DDD32C1E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121972-1C87-5C7C-FCA7-46A05EF2C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200577-9B2A-D0C4-11AD-E1CF79FEF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13894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454CD-EE41-F1DE-1771-69BC832E7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9BE1D-F891-2018-E4A5-E5E7FE611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07C6E1-8DB5-6984-CA86-0842BE915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81DD75-F652-2761-51C1-6CB0AC9F6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49520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A6D73B-7D11-FF10-B20A-74B183A01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3F721D-D9B7-55E2-7F5E-6F1E2D798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56AD58-EB87-6977-56E2-33C66BB5E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4023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A9F0F-A6CB-554A-9F8A-C5ACF753A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9CD85D-5444-C7D6-0AF7-950B1D9765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14C314-809A-6966-4655-D6CB670596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0C11E3-E7E1-C361-BB5C-8D13F795B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86679-9CE6-21CA-1A92-28417BD70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387017-9D7D-044A-2CA1-E72360597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92431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4CCAA-6967-9D00-CC88-164EA61B8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F577EE-09B0-B0D4-FE99-37FE848750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C2DAEB-73BB-C47B-ED33-B3DC521F1E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9C731B-A9D2-66CF-51BB-6F4F5520B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0D284B-3F7F-ADE5-6D53-A429A0612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9B6A84-33B4-8F4A-A187-308481058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8318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D4ABC0-26B6-9B75-C65B-EB5722F01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CF43FA-D758-8195-2ACD-1D247288F7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D3D2F-B175-98BF-DB26-D206ECE89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E95673-2D93-B01E-142B-F0A6450D4C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B129AF-1AC1-B630-91CF-2A5932B7E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5183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basic layout - No wayfinder i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2" y="1496845"/>
            <a:ext cx="10493855" cy="35240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09835" y="331099"/>
            <a:ext cx="1153946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7794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D4A870-78AA-1D93-6746-FFCEB84DF7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759AFF-2E4E-DD93-3DC8-29081BDF04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A80547-0DCF-B58F-C209-1446F8B64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15A33B-2EF7-2FD7-4E12-D10127179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AB350-2D4E-7AA7-7CAA-FA43275AA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39268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3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1B64881F-8D00-4C4F-9882-B571FAC9DBD9}"/>
              </a:ext>
            </a:extLst>
          </p:cNvPr>
          <p:cNvGrpSpPr/>
          <p:nvPr userDrawn="1"/>
        </p:nvGrpSpPr>
        <p:grpSpPr>
          <a:xfrm>
            <a:off x="9048329" y="5406322"/>
            <a:ext cx="2763415" cy="696125"/>
            <a:chOff x="9048328" y="5406321"/>
            <a:chExt cx="2763414" cy="696125"/>
          </a:xfrm>
        </p:grpSpPr>
        <p:pic>
          <p:nvPicPr>
            <p:cNvPr id="12" name="Graphique 12">
              <a:extLst>
                <a:ext uri="{FF2B5EF4-FFF2-40B4-BE49-F238E27FC236}">
                  <a16:creationId xmlns:a16="http://schemas.microsoft.com/office/drawing/2014/main" id="{F3F6F94B-9509-481F-BDB4-02287AFD43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1B2224E0-C2A5-4329-B66A-D99B521DD6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3379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CF8058C4-507E-4D50-8CE6-68465C1D0E3D}"/>
              </a:ext>
            </a:extLst>
          </p:cNvPr>
          <p:cNvGrpSpPr/>
          <p:nvPr userDrawn="1"/>
        </p:nvGrpSpPr>
        <p:grpSpPr>
          <a:xfrm>
            <a:off x="594746" y="5417572"/>
            <a:ext cx="2763415" cy="696125"/>
            <a:chOff x="9048328" y="5406321"/>
            <a:chExt cx="2763414" cy="696125"/>
          </a:xfrm>
        </p:grpSpPr>
        <p:pic>
          <p:nvPicPr>
            <p:cNvPr id="20" name="Graphique 12">
              <a:extLst>
                <a:ext uri="{FF2B5EF4-FFF2-40B4-BE49-F238E27FC236}">
                  <a16:creationId xmlns:a16="http://schemas.microsoft.com/office/drawing/2014/main" id="{AFF99FF3-9BC2-459A-8705-BD99E0834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DFCB8994-61E9-4607-96FC-9B9CEB5E99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5019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7584907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46710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006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R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5464AFE6-C7AF-431B-8B04-FA8719DF399C}"/>
              </a:ext>
            </a:extLst>
          </p:cNvPr>
          <p:cNvGrpSpPr/>
          <p:nvPr userDrawn="1"/>
        </p:nvGrpSpPr>
        <p:grpSpPr>
          <a:xfrm>
            <a:off x="9048329" y="5406322"/>
            <a:ext cx="2763415" cy="696125"/>
            <a:chOff x="9048328" y="5406321"/>
            <a:chExt cx="2763414" cy="696125"/>
          </a:xfrm>
        </p:grpSpPr>
        <p:pic>
          <p:nvPicPr>
            <p:cNvPr id="16" name="Graphique 12">
              <a:extLst>
                <a:ext uri="{FF2B5EF4-FFF2-40B4-BE49-F238E27FC236}">
                  <a16:creationId xmlns:a16="http://schemas.microsoft.com/office/drawing/2014/main" id="{533CEAB0-3602-4EF4-8078-1F0CB9C6A0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A8A28707-ED0C-4597-9138-2DCD4A3A72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153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Lef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5926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0BEE2C7-3965-40D5-9332-7D786EDD1163}"/>
              </a:ext>
            </a:extLst>
          </p:cNvPr>
          <p:cNvGrpSpPr/>
          <p:nvPr userDrawn="1"/>
        </p:nvGrpSpPr>
        <p:grpSpPr>
          <a:xfrm>
            <a:off x="594746" y="5417572"/>
            <a:ext cx="2763415" cy="696125"/>
            <a:chOff x="9048328" y="5406321"/>
            <a:chExt cx="2763414" cy="696125"/>
          </a:xfrm>
        </p:grpSpPr>
        <p:pic>
          <p:nvPicPr>
            <p:cNvPr id="15" name="Graphique 12">
              <a:extLst>
                <a:ext uri="{FF2B5EF4-FFF2-40B4-BE49-F238E27FC236}">
                  <a16:creationId xmlns:a16="http://schemas.microsoft.com/office/drawing/2014/main" id="{C0E4F5C3-F4D6-4CC9-8F2D-9F795599D7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60867154-D632-49CB-A763-A328A22116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347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394589"/>
            <a:ext cx="7551996" cy="954108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988" y="1649867"/>
            <a:ext cx="7546216" cy="661720"/>
          </a:xfrm>
        </p:spPr>
        <p:txBody>
          <a:bodyPr wrap="square" lIns="108000" rIns="180000">
            <a:spAutoFit/>
          </a:bodyPr>
          <a:lstStyle>
            <a:lvl1pPr marL="450839" indent="-450839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63" indent="-314317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12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psos Knowledge Centre</a:t>
            </a:r>
          </a:p>
        </p:txBody>
      </p:sp>
    </p:spTree>
    <p:extLst>
      <p:ext uri="{BB962C8B-B14F-4D97-AF65-F5344CB8AC3E}">
        <p14:creationId xmlns:p14="http://schemas.microsoft.com/office/powerpoint/2010/main" val="3662597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Live October 2019</a:t>
            </a:r>
          </a:p>
        </p:txBody>
      </p:sp>
    </p:spTree>
    <p:extLst>
      <p:ext uri="{BB962C8B-B14F-4D97-AF65-F5344CB8AC3E}">
        <p14:creationId xmlns:p14="http://schemas.microsoft.com/office/powerpoint/2010/main" val="3950214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ver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5791000" cy="715669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905000" y="14514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  <a:endParaRPr lang="en-GB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2B307F84-45B4-FBB4-1E6C-CD4B241E7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139"/>
            <a:ext cx="3851275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9591563"/>
      </p:ext>
    </p:extLst>
  </p:cSld>
  <p:clrMapOvr>
    <a:masterClrMapping/>
  </p:clrMapOvr>
  <p:hf hdr="0" ftr="0" dt="0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351452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215" y="512678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Future Publications</a:t>
            </a:r>
          </a:p>
        </p:txBody>
      </p:sp>
    </p:spTree>
    <p:extLst>
      <p:ext uri="{BB962C8B-B14F-4D97-AF65-F5344CB8AC3E}">
        <p14:creationId xmlns:p14="http://schemas.microsoft.com/office/powerpoint/2010/main" val="3256865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Future Publication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71230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Knowledge Centre</a:t>
            </a:r>
          </a:p>
        </p:txBody>
      </p:sp>
    </p:spTree>
    <p:extLst>
      <p:ext uri="{BB962C8B-B14F-4D97-AF65-F5344CB8AC3E}">
        <p14:creationId xmlns:p14="http://schemas.microsoft.com/office/powerpoint/2010/main" val="818604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4234504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4113202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812490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 &amp; green lin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6E579EA-91DA-4593-8EE7-8C7BD8E9B3C4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F1B386-0FAE-41CE-A984-7AA20FB08BC9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0DDFB2-256F-44A1-BD31-110E23E23F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7" y="5914633"/>
            <a:ext cx="11382428" cy="215444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C7EC617-99AC-4619-A3E2-03F03BE503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587" y="1301922"/>
            <a:ext cx="2383767" cy="353943"/>
          </a:xfrm>
          <a:solidFill>
            <a:schemeClr val="bg1"/>
          </a:solidFill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AC638226-1503-4686-A47D-719DAE7E1EF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A7D057F7-5350-4EA2-9720-F7C82D8742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0484B6EF-AF21-476B-9A05-614E9257A12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1DD0896-E435-45AB-A276-C01A7737A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017138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8">
          <p15:clr>
            <a:srgbClr val="F26B43"/>
          </p15:clr>
        </p15:guide>
        <p15:guide id="5" orient="horz" pos="1040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0957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13030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0957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4042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5765600" cy="715669"/>
          </a:xfrm>
        </p:spPr>
        <p:txBody>
          <a:bodyPr/>
          <a:lstStyle>
            <a:lvl1pPr>
              <a:defRPr sz="48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CCE9AAD8-E91C-C496-B418-A50607DEBA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000"/>
            <a:ext cx="3851275" cy="1274763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32742255"/>
      </p:ext>
    </p:extLst>
  </p:cSld>
  <p:clrMapOvr>
    <a:masterClrMapping/>
  </p:clrMapOvr>
  <p:hf hdr="0" ftr="0" dt="0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976603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44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09869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14953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20037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508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09869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14953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20037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77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Future Publications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18592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FFA1AA5-BD0A-4DA2-B673-FFA69DD82A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418242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75305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8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50B9D53-EB0D-4D50-9A03-24095E62AB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97347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FEB6BD6-1F6B-4CDA-A8BD-7B9947B8A3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05608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TY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5391605" cy="154910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287001" cy="68580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87001" h="68580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lnTo>
                  <a:pt x="6896100" y="6858000"/>
                </a:lnTo>
                <a:lnTo>
                  <a:pt x="0" y="6858000"/>
                </a:lnTo>
                <a:close/>
              </a:path>
            </a:pathLst>
          </a:custGeom>
          <a:pattFill prst="dk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433BB7AA-54DD-4BAB-0FD5-D287A85CE4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000"/>
            <a:ext cx="4038600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22278279"/>
      </p:ext>
    </p:extLst>
  </p:cSld>
  <p:clrMapOvr>
    <a:masterClrMapping/>
  </p:clrMapOvr>
  <p:hf hdr="0" ftr="0" dt="0"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526879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74490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2C66637-89A9-4034-A3B9-5E2458610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82768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37237CF-7891-41A0-8496-C3B641A44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82903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563442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8268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732478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818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380549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54015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095800" cy="161001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7BBA45-30B2-1AE1-4D29-166B974CDEE5}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066FE41-55CD-1D44-7ED7-B1E742AF18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8762" y="1032463"/>
            <a:ext cx="2600325" cy="1820863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3EC48E-82FF-AD78-A375-4569D05591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494989"/>
            <a:ext cx="6096000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7953FA7-7CC9-EFDA-292B-AD4EE8BF2312}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1FC277-A24A-127A-0091-6B28965A6AC2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6958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095800" cy="161001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7BBA45-30B2-1AE1-4D29-166B974CDEE5}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066FE41-55CD-1D44-7ED7-B1E742AF18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8762" y="1032463"/>
            <a:ext cx="2600325" cy="1820863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3EC48E-82FF-AD78-A375-4569D05591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494989"/>
            <a:ext cx="6096000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7953FA7-7CC9-EFDA-292B-AD4EE8BF2312}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1FC277-A24A-127A-0091-6B28965A6AC2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656890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F3B4695-392F-4D5E-A21D-D31873D40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250207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7AFC4AA-0C36-4C10-8687-BEDF59DC2D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00384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20057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2748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89508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055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4250198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022234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7927E3E-1782-4A07-BD59-371C4D8227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58041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6BACE50-F370-4AF7-A623-EFA8E8D0F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3501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TY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2B650A8-9C21-DC86-F471-38B40FC6D5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975100 h 6858000"/>
              <a:gd name="connsiteX3" fmla="*/ 93091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975100"/>
                </a:lnTo>
                <a:lnTo>
                  <a:pt x="93091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sz="1800"/>
            </a:lvl1pPr>
          </a:lstStyle>
          <a:p>
            <a:pPr lvl="0" algn="ctr"/>
            <a:r>
              <a:rPr lang="en-GB" dirty="0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6797676" cy="715669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4800" b="0" cap="all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291164C1-FFDE-EA90-BDBC-A8ECC8F00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4720771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701515130"/>
      </p:ext>
    </p:extLst>
  </p:cSld>
  <p:clrMapOvr>
    <a:masterClrMapping/>
  </p:clrMapOvr>
  <p:hf hdr="0" ftr="0" dt="0"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9691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3391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20178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132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315537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994835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8780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041656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9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8305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403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white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E4D39-4D4B-EF55-6284-160F99E53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1210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9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10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214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0165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8"/>
            <a:ext cx="3195011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26159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1251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8"/>
            <a:ext cx="3195011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17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7" y="1993901"/>
            <a:ext cx="2378847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3" y="1993901"/>
            <a:ext cx="2378847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9" y="1993901"/>
            <a:ext cx="2378847" cy="338554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1"/>
            <a:ext cx="2378847" cy="338554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889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0986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6085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31183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5673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7" y="1993901"/>
            <a:ext cx="2378847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3" y="1993901"/>
            <a:ext cx="2378847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9" y="1993901"/>
            <a:ext cx="2378847" cy="338554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1"/>
            <a:ext cx="2378847" cy="338554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889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0986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6085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31183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 marL="758806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16064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77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17061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5" y="1993899"/>
            <a:ext cx="3195009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2" y="1993899"/>
            <a:ext cx="3195009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4" y="1993899"/>
            <a:ext cx="3195009" cy="338554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91925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77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17061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5" y="1993899"/>
            <a:ext cx="3195009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2" y="1993899"/>
            <a:ext cx="3195009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4" y="1993899"/>
            <a:ext cx="3195009" cy="338554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0487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7DF1024-681A-4B64-B209-B8AE20F4C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742579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ing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ingle column layou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7224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7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51512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7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812326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dirty="0">
                <a:solidFill>
                  <a:schemeClr val="bg1"/>
                </a:solidFill>
              </a:rPr>
              <a:t>© Ipsos</a:t>
            </a:r>
          </a:p>
        </p:txBody>
      </p:sp>
    </p:spTree>
    <p:extLst>
      <p:ext uri="{BB962C8B-B14F-4D97-AF65-F5344CB8AC3E}">
        <p14:creationId xmlns:p14="http://schemas.microsoft.com/office/powerpoint/2010/main" val="1784030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3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4431075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946F594-BA66-4464-A354-77BE6FF12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18020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31702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83019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103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136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56927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74454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l_cle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4F419-BE4D-C750-7148-9CE8C43FA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CCDBCE-4D82-219C-1461-D5A253117AE4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5" name="Classification">
            <a:extLst>
              <a:ext uri="{FF2B5EF4-FFF2-40B4-BE49-F238E27FC236}">
                <a16:creationId xmlns:a16="http://schemas.microsoft.com/office/drawing/2014/main" id="{1E7C5A24-A74F-E7F8-8755-0ACC3462B3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7B9DA72-0ECA-44B6-A483-079BF1FC72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180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556565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00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4836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626599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37217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2939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23267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0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dirty="0">
                <a:solidFill>
                  <a:schemeClr val="bg1"/>
                </a:solidFill>
              </a:rPr>
              <a:t>© Ipsos</a:t>
            </a:r>
          </a:p>
        </p:txBody>
      </p:sp>
    </p:spTree>
    <p:extLst>
      <p:ext uri="{BB962C8B-B14F-4D97-AF65-F5344CB8AC3E}">
        <p14:creationId xmlns:p14="http://schemas.microsoft.com/office/powerpoint/2010/main" val="640464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9483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89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nging box title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5DCA5B4-84E6-C16E-3495-F7C93535FD02}"/>
              </a:ext>
            </a:extLst>
          </p:cNvPr>
          <p:cNvSpPr/>
          <p:nvPr userDrawn="1"/>
        </p:nvSpPr>
        <p:spPr>
          <a:xfrm>
            <a:off x="0" y="0"/>
            <a:ext cx="12298680" cy="6858000"/>
          </a:xfrm>
          <a:custGeom>
            <a:avLst/>
            <a:gdLst>
              <a:gd name="connsiteX0" fmla="*/ 0 w 12298680"/>
              <a:gd name="connsiteY0" fmla="*/ 0 h 6858000"/>
              <a:gd name="connsiteX1" fmla="*/ 452513 w 12298680"/>
              <a:gd name="connsiteY1" fmla="*/ 0 h 6858000"/>
              <a:gd name="connsiteX2" fmla="*/ 452513 w 12298680"/>
              <a:gd name="connsiteY2" fmla="*/ 5995686 h 6858000"/>
              <a:gd name="connsiteX3" fmla="*/ 3403129 w 12298680"/>
              <a:gd name="connsiteY3" fmla="*/ 5995686 h 6858000"/>
              <a:gd name="connsiteX4" fmla="*/ 3993266 w 12298680"/>
              <a:gd name="connsiteY4" fmla="*/ 5405549 h 6858000"/>
              <a:gd name="connsiteX5" fmla="*/ 3993266 w 12298680"/>
              <a:gd name="connsiteY5" fmla="*/ 0 h 6858000"/>
              <a:gd name="connsiteX6" fmla="*/ 12298680 w 12298680"/>
              <a:gd name="connsiteY6" fmla="*/ 0 h 6858000"/>
              <a:gd name="connsiteX7" fmla="*/ 12298680 w 12298680"/>
              <a:gd name="connsiteY7" fmla="*/ 6858000 h 6858000"/>
              <a:gd name="connsiteX8" fmla="*/ 0 w 1229868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8680" h="6858000">
                <a:moveTo>
                  <a:pt x="0" y="0"/>
                </a:moveTo>
                <a:lnTo>
                  <a:pt x="452513" y="0"/>
                </a:lnTo>
                <a:lnTo>
                  <a:pt x="452513" y="5995686"/>
                </a:lnTo>
                <a:lnTo>
                  <a:pt x="3403129" y="5995686"/>
                </a:lnTo>
                <a:lnTo>
                  <a:pt x="3993266" y="5405549"/>
                </a:lnTo>
                <a:lnTo>
                  <a:pt x="3993266" y="0"/>
                </a:lnTo>
                <a:lnTo>
                  <a:pt x="12298680" y="0"/>
                </a:lnTo>
                <a:lnTo>
                  <a:pt x="122986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A895AA-9637-BA9D-6A51-32AABDD1EEE6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10" name="Classification">
            <a:extLst>
              <a:ext uri="{FF2B5EF4-FFF2-40B4-BE49-F238E27FC236}">
                <a16:creationId xmlns:a16="http://schemas.microsoft.com/office/drawing/2014/main" id="{FDA94CA4-3E8E-2820-45B1-D61F9D06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tx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945CAF-8B8F-45C0-E119-0D8E0A52E5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2" y="701874"/>
            <a:ext cx="3149601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2638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5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214384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9" y="1903446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5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97211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0155516-BCC0-4410-807D-67525D0A42A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258" y="1380831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6FB3B5F6-4F5D-4CAE-9690-721804EFB0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27257" y="2852738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A978016C-B88E-40AB-AB2D-DF2F2774C65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27257" y="4324644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34089C48-5735-4033-B8DC-480B42CE401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81861" y="1380830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3A9246D6-CE95-4559-BE3F-BF1FA17F7F8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81861" y="2852736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DD099383-4AF9-414F-B3A8-C92BE191C8E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1860" y="4324644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16786DEB-BEB9-4213-9BE2-35CC11607A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26821" y="1380831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EF068A10-996B-4236-A070-3DBF55A9770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426821" y="2852738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9E2430C6-C110-44CA-84D8-7F6BB80B19F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426820" y="4324644"/>
            <a:ext cx="1357313" cy="115252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285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63809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449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7"/>
            <a:ext cx="9144000" cy="1655763"/>
          </a:xfrm>
        </p:spPr>
        <p:txBody>
          <a:bodyPr/>
          <a:lstStyle>
            <a:lvl1pPr marL="0" indent="0" algn="ctr">
              <a:buNone/>
              <a:defRPr sz="1796"/>
            </a:lvl1pPr>
            <a:lvl2pPr marL="342293" indent="0" algn="ctr">
              <a:buNone/>
              <a:defRPr sz="1497"/>
            </a:lvl2pPr>
            <a:lvl3pPr marL="684587" indent="0" algn="ctr">
              <a:buNone/>
              <a:defRPr sz="1348"/>
            </a:lvl3pPr>
            <a:lvl4pPr marL="1026880" indent="0" algn="ctr">
              <a:buNone/>
              <a:defRPr sz="1199"/>
            </a:lvl4pPr>
            <a:lvl5pPr marL="1369174" indent="0" algn="ctr">
              <a:buNone/>
              <a:defRPr sz="1199"/>
            </a:lvl5pPr>
            <a:lvl6pPr marL="1711467" indent="0" algn="ctr">
              <a:buNone/>
              <a:defRPr sz="1199"/>
            </a:lvl6pPr>
            <a:lvl7pPr marL="2053761" indent="0" algn="ctr">
              <a:buNone/>
              <a:defRPr sz="1199"/>
            </a:lvl7pPr>
            <a:lvl8pPr marL="2396053" indent="0" algn="ctr">
              <a:buNone/>
              <a:defRPr sz="1199"/>
            </a:lvl8pPr>
            <a:lvl9pPr marL="2738348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907156"/>
      </p:ext>
    </p:extLst>
  </p:cSld>
  <p:clrMapOvr>
    <a:masterClrMapping/>
  </p:clrMapOvr>
  <p:hf hdr="0" ftr="0" dt="0"/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597994"/>
      </p:ext>
    </p:extLst>
  </p:cSld>
  <p:clrMapOvr>
    <a:masterClrMapping/>
  </p:clrMapOvr>
  <p:hf hdr="0" ftr="0" dt="0"/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49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8"/>
          </a:xfrm>
        </p:spPr>
        <p:txBody>
          <a:bodyPr/>
          <a:lstStyle>
            <a:lvl1pPr marL="0" indent="0">
              <a:buNone/>
              <a:defRPr sz="1796">
                <a:solidFill>
                  <a:schemeClr val="tx1">
                    <a:tint val="75000"/>
                  </a:schemeClr>
                </a:solidFill>
              </a:defRPr>
            </a:lvl1pPr>
            <a:lvl2pPr marL="342293" indent="0">
              <a:buNone/>
              <a:defRPr sz="1497">
                <a:solidFill>
                  <a:schemeClr val="tx1">
                    <a:tint val="75000"/>
                  </a:schemeClr>
                </a:solidFill>
              </a:defRPr>
            </a:lvl2pPr>
            <a:lvl3pPr marL="684587" indent="0">
              <a:buNone/>
              <a:defRPr sz="1348">
                <a:solidFill>
                  <a:schemeClr val="tx1">
                    <a:tint val="75000"/>
                  </a:schemeClr>
                </a:solidFill>
              </a:defRPr>
            </a:lvl3pPr>
            <a:lvl4pPr marL="102688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69174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146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3761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605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383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718130"/>
      </p:ext>
    </p:extLst>
  </p:cSld>
  <p:clrMapOvr>
    <a:masterClrMapping/>
  </p:clrMapOvr>
  <p:hf hdr="0" ftr="0" dt="0"/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4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401967"/>
      </p:ext>
    </p:extLst>
  </p:cSld>
  <p:clrMapOvr>
    <a:masterClrMapping/>
  </p:clrMapOvr>
  <p:hf hdr="0" ftr="0" dt="0"/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796" b="1"/>
            </a:lvl1pPr>
            <a:lvl2pPr marL="342293" indent="0">
              <a:buNone/>
              <a:defRPr sz="1497" b="1"/>
            </a:lvl2pPr>
            <a:lvl3pPr marL="684587" indent="0">
              <a:buNone/>
              <a:defRPr sz="1348" b="1"/>
            </a:lvl3pPr>
            <a:lvl4pPr marL="1026880" indent="0">
              <a:buNone/>
              <a:defRPr sz="1199" b="1"/>
            </a:lvl4pPr>
            <a:lvl5pPr marL="1369174" indent="0">
              <a:buNone/>
              <a:defRPr sz="1199" b="1"/>
            </a:lvl5pPr>
            <a:lvl6pPr marL="1711467" indent="0">
              <a:buNone/>
              <a:defRPr sz="1199" b="1"/>
            </a:lvl6pPr>
            <a:lvl7pPr marL="2053761" indent="0">
              <a:buNone/>
              <a:defRPr sz="1199" b="1"/>
            </a:lvl7pPr>
            <a:lvl8pPr marL="2396053" indent="0">
              <a:buNone/>
              <a:defRPr sz="1199" b="1"/>
            </a:lvl8pPr>
            <a:lvl9pPr marL="2738348" indent="0">
              <a:buNone/>
              <a:defRPr sz="11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1796" b="1"/>
            </a:lvl1pPr>
            <a:lvl2pPr marL="342293" indent="0">
              <a:buNone/>
              <a:defRPr sz="1497" b="1"/>
            </a:lvl2pPr>
            <a:lvl3pPr marL="684587" indent="0">
              <a:buNone/>
              <a:defRPr sz="1348" b="1"/>
            </a:lvl3pPr>
            <a:lvl4pPr marL="1026880" indent="0">
              <a:buNone/>
              <a:defRPr sz="1199" b="1"/>
            </a:lvl4pPr>
            <a:lvl5pPr marL="1369174" indent="0">
              <a:buNone/>
              <a:defRPr sz="1199" b="1"/>
            </a:lvl5pPr>
            <a:lvl6pPr marL="1711467" indent="0">
              <a:buNone/>
              <a:defRPr sz="1199" b="1"/>
            </a:lvl6pPr>
            <a:lvl7pPr marL="2053761" indent="0">
              <a:buNone/>
              <a:defRPr sz="1199" b="1"/>
            </a:lvl7pPr>
            <a:lvl8pPr marL="2396053" indent="0">
              <a:buNone/>
              <a:defRPr sz="1199" b="1"/>
            </a:lvl8pPr>
            <a:lvl9pPr marL="2738348" indent="0">
              <a:buNone/>
              <a:defRPr sz="11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34838"/>
      </p:ext>
    </p:extLst>
  </p:cSld>
  <p:clrMapOvr>
    <a:masterClrMapping/>
  </p:clrMapOvr>
  <p:hf hdr="0" ftr="0" dt="0"/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4BEBB-F7A8-403D-B1E4-D80DD333B472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30009" y="6356351"/>
            <a:ext cx="2743200" cy="365124"/>
          </a:xfrm>
        </p:spPr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3629AC51-813F-4A7E-A63D-CFC797EE6A7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7117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anging box 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063580A-EAC7-6E57-6010-5EE06037E6CB}"/>
              </a:ext>
            </a:extLst>
          </p:cNvPr>
          <p:cNvSpPr/>
          <p:nvPr userDrawn="1"/>
        </p:nvSpPr>
        <p:spPr>
          <a:xfrm>
            <a:off x="0" y="0"/>
            <a:ext cx="12298680" cy="6858000"/>
          </a:xfrm>
          <a:custGeom>
            <a:avLst/>
            <a:gdLst>
              <a:gd name="connsiteX0" fmla="*/ 0 w 12298680"/>
              <a:gd name="connsiteY0" fmla="*/ 0 h 6858000"/>
              <a:gd name="connsiteX1" fmla="*/ 452513 w 12298680"/>
              <a:gd name="connsiteY1" fmla="*/ 0 h 6858000"/>
              <a:gd name="connsiteX2" fmla="*/ 452513 w 12298680"/>
              <a:gd name="connsiteY2" fmla="*/ 5995686 h 6858000"/>
              <a:gd name="connsiteX3" fmla="*/ 3403129 w 12298680"/>
              <a:gd name="connsiteY3" fmla="*/ 5995686 h 6858000"/>
              <a:gd name="connsiteX4" fmla="*/ 3993266 w 12298680"/>
              <a:gd name="connsiteY4" fmla="*/ 5405549 h 6858000"/>
              <a:gd name="connsiteX5" fmla="*/ 3993266 w 12298680"/>
              <a:gd name="connsiteY5" fmla="*/ 0 h 6858000"/>
              <a:gd name="connsiteX6" fmla="*/ 12298680 w 12298680"/>
              <a:gd name="connsiteY6" fmla="*/ 0 h 6858000"/>
              <a:gd name="connsiteX7" fmla="*/ 12298680 w 12298680"/>
              <a:gd name="connsiteY7" fmla="*/ 6858000 h 6858000"/>
              <a:gd name="connsiteX8" fmla="*/ 0 w 1229868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8680" h="6858000">
                <a:moveTo>
                  <a:pt x="0" y="0"/>
                </a:moveTo>
                <a:lnTo>
                  <a:pt x="452513" y="0"/>
                </a:lnTo>
                <a:lnTo>
                  <a:pt x="452513" y="5995686"/>
                </a:lnTo>
                <a:lnTo>
                  <a:pt x="3403129" y="5995686"/>
                </a:lnTo>
                <a:lnTo>
                  <a:pt x="3993266" y="5405549"/>
                </a:lnTo>
                <a:lnTo>
                  <a:pt x="3993266" y="0"/>
                </a:lnTo>
                <a:lnTo>
                  <a:pt x="12298680" y="0"/>
                </a:lnTo>
                <a:lnTo>
                  <a:pt x="122986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2" y="701874"/>
            <a:ext cx="3149601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73E53EB-3CF7-23AB-A106-C20DD2520C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2288" y="701675"/>
            <a:ext cx="7416800" cy="4959350"/>
          </a:xfrm>
        </p:spPr>
        <p:txBody>
          <a:bodyPr numCol="1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CA27D4-4DF4-8FC8-3F9B-1A76440CE057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8" name="Classification">
            <a:extLst>
              <a:ext uri="{FF2B5EF4-FFF2-40B4-BE49-F238E27FC236}">
                <a16:creationId xmlns:a16="http://schemas.microsoft.com/office/drawing/2014/main" id="{B4AC6576-1CFA-49E3-6518-BDBEF92D4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tx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990A493-FD4C-BCDA-2FAD-E615AB956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5526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5604851"/>
      </p:ext>
    </p:extLst>
  </p:cSld>
  <p:clrMapOvr>
    <a:masterClrMapping/>
  </p:clrMapOvr>
  <p:hf hdr="0" ftr="0" dt="0"/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239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2396"/>
            </a:lvl1pPr>
            <a:lvl2pPr>
              <a:defRPr sz="2096"/>
            </a:lvl2pPr>
            <a:lvl3pPr>
              <a:defRPr sz="1796"/>
            </a:lvl3pPr>
            <a:lvl4pPr>
              <a:defRPr sz="1497"/>
            </a:lvl4pPr>
            <a:lvl5pPr>
              <a:defRPr sz="1497"/>
            </a:lvl5pPr>
            <a:lvl6pPr>
              <a:defRPr sz="1497"/>
            </a:lvl6pPr>
            <a:lvl7pPr>
              <a:defRPr sz="1497"/>
            </a:lvl7pPr>
            <a:lvl8pPr>
              <a:defRPr sz="1497"/>
            </a:lvl8pPr>
            <a:lvl9pPr>
              <a:defRPr sz="14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1"/>
            <a:ext cx="3932237" cy="3811588"/>
          </a:xfrm>
        </p:spPr>
        <p:txBody>
          <a:bodyPr/>
          <a:lstStyle>
            <a:lvl1pPr marL="0" indent="0">
              <a:buNone/>
              <a:defRPr sz="1199"/>
            </a:lvl1pPr>
            <a:lvl2pPr marL="342293" indent="0">
              <a:buNone/>
              <a:defRPr sz="1048"/>
            </a:lvl2pPr>
            <a:lvl3pPr marL="684587" indent="0">
              <a:buNone/>
              <a:defRPr sz="899"/>
            </a:lvl3pPr>
            <a:lvl4pPr marL="1026880" indent="0">
              <a:buNone/>
              <a:defRPr sz="749"/>
            </a:lvl4pPr>
            <a:lvl5pPr marL="1369174" indent="0">
              <a:buNone/>
              <a:defRPr sz="749"/>
            </a:lvl5pPr>
            <a:lvl6pPr marL="1711467" indent="0">
              <a:buNone/>
              <a:defRPr sz="749"/>
            </a:lvl6pPr>
            <a:lvl7pPr marL="2053761" indent="0">
              <a:buNone/>
              <a:defRPr sz="749"/>
            </a:lvl7pPr>
            <a:lvl8pPr marL="2396053" indent="0">
              <a:buNone/>
              <a:defRPr sz="749"/>
            </a:lvl8pPr>
            <a:lvl9pPr marL="2738348" indent="0">
              <a:buNone/>
              <a:defRPr sz="74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473303"/>
      </p:ext>
    </p:extLst>
  </p:cSld>
  <p:clrMapOvr>
    <a:masterClrMapping/>
  </p:clrMapOvr>
  <p:hf hdr="0" ftr="0" dt="0"/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239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anchor="t"/>
          <a:lstStyle>
            <a:lvl1pPr marL="0" indent="0">
              <a:buNone/>
              <a:defRPr sz="2396"/>
            </a:lvl1pPr>
            <a:lvl2pPr marL="342293" indent="0">
              <a:buNone/>
              <a:defRPr sz="2096"/>
            </a:lvl2pPr>
            <a:lvl3pPr marL="684587" indent="0">
              <a:buNone/>
              <a:defRPr sz="1796"/>
            </a:lvl3pPr>
            <a:lvl4pPr marL="1026880" indent="0">
              <a:buNone/>
              <a:defRPr sz="1497"/>
            </a:lvl4pPr>
            <a:lvl5pPr marL="1369174" indent="0">
              <a:buNone/>
              <a:defRPr sz="1497"/>
            </a:lvl5pPr>
            <a:lvl6pPr marL="1711467" indent="0">
              <a:buNone/>
              <a:defRPr sz="1497"/>
            </a:lvl6pPr>
            <a:lvl7pPr marL="2053761" indent="0">
              <a:buNone/>
              <a:defRPr sz="1497"/>
            </a:lvl7pPr>
            <a:lvl8pPr marL="2396053" indent="0">
              <a:buNone/>
              <a:defRPr sz="1497"/>
            </a:lvl8pPr>
            <a:lvl9pPr marL="2738348" indent="0">
              <a:buNone/>
              <a:defRPr sz="149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1"/>
            <a:ext cx="3932237" cy="3811588"/>
          </a:xfrm>
        </p:spPr>
        <p:txBody>
          <a:bodyPr/>
          <a:lstStyle>
            <a:lvl1pPr marL="0" indent="0">
              <a:buNone/>
              <a:defRPr sz="1199"/>
            </a:lvl1pPr>
            <a:lvl2pPr marL="342293" indent="0">
              <a:buNone/>
              <a:defRPr sz="1048"/>
            </a:lvl2pPr>
            <a:lvl3pPr marL="684587" indent="0">
              <a:buNone/>
              <a:defRPr sz="899"/>
            </a:lvl3pPr>
            <a:lvl4pPr marL="1026880" indent="0">
              <a:buNone/>
              <a:defRPr sz="749"/>
            </a:lvl4pPr>
            <a:lvl5pPr marL="1369174" indent="0">
              <a:buNone/>
              <a:defRPr sz="749"/>
            </a:lvl5pPr>
            <a:lvl6pPr marL="1711467" indent="0">
              <a:buNone/>
              <a:defRPr sz="749"/>
            </a:lvl6pPr>
            <a:lvl7pPr marL="2053761" indent="0">
              <a:buNone/>
              <a:defRPr sz="749"/>
            </a:lvl7pPr>
            <a:lvl8pPr marL="2396053" indent="0">
              <a:buNone/>
              <a:defRPr sz="749"/>
            </a:lvl8pPr>
            <a:lvl9pPr marL="2738348" indent="0">
              <a:buNone/>
              <a:defRPr sz="74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479114"/>
      </p:ext>
    </p:extLst>
  </p:cSld>
  <p:clrMapOvr>
    <a:masterClrMapping/>
  </p:clrMapOvr>
  <p:hf hdr="0" ftr="0" dt="0"/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353236"/>
      </p:ext>
    </p:extLst>
  </p:cSld>
  <p:clrMapOvr>
    <a:masterClrMapping/>
  </p:clrMapOvr>
  <p:hf hdr="0" ftr="0" dt="0"/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27481"/>
      </p:ext>
    </p:extLst>
  </p:cSld>
  <p:clrMapOvr>
    <a:masterClrMapping/>
  </p:clrMapOvr>
  <p:hf hdr="0" ftr="0" dt="0"/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14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839" y="457200"/>
            <a:ext cx="11539460" cy="4570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</p:spTree>
    <p:extLst>
      <p:ext uri="{BB962C8B-B14F-4D97-AF65-F5344CB8AC3E}">
        <p14:creationId xmlns:p14="http://schemas.microsoft.com/office/powerpoint/2010/main" val="337968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38426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91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38426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1B64881F-8D00-4C4F-9882-B571FAC9DBD9}"/>
              </a:ext>
            </a:extLst>
          </p:cNvPr>
          <p:cNvGrpSpPr/>
          <p:nvPr userDrawn="1"/>
        </p:nvGrpSpPr>
        <p:grpSpPr>
          <a:xfrm>
            <a:off x="9048329" y="5406322"/>
            <a:ext cx="2763415" cy="696125"/>
            <a:chOff x="9048328" y="5406321"/>
            <a:chExt cx="2763414" cy="696125"/>
          </a:xfrm>
        </p:grpSpPr>
        <p:pic>
          <p:nvPicPr>
            <p:cNvPr id="12" name="Graphique 12">
              <a:extLst>
                <a:ext uri="{FF2B5EF4-FFF2-40B4-BE49-F238E27FC236}">
                  <a16:creationId xmlns:a16="http://schemas.microsoft.com/office/drawing/2014/main" id="{F3F6F94B-9509-481F-BDB4-02287AFD43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1B2224E0-C2A5-4329-B66A-D99B521DD6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2263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Ipsos MORI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38426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CF8058C4-507E-4D50-8CE6-68465C1D0E3D}"/>
              </a:ext>
            </a:extLst>
          </p:cNvPr>
          <p:cNvGrpSpPr/>
          <p:nvPr userDrawn="1"/>
        </p:nvGrpSpPr>
        <p:grpSpPr>
          <a:xfrm>
            <a:off x="594746" y="5417572"/>
            <a:ext cx="2763415" cy="696125"/>
            <a:chOff x="9048328" y="5406321"/>
            <a:chExt cx="2763414" cy="696125"/>
          </a:xfrm>
        </p:grpSpPr>
        <p:pic>
          <p:nvPicPr>
            <p:cNvPr id="20" name="Graphique 12">
              <a:extLst>
                <a:ext uri="{FF2B5EF4-FFF2-40B4-BE49-F238E27FC236}">
                  <a16:creationId xmlns:a16="http://schemas.microsoft.com/office/drawing/2014/main" id="{AFF99FF3-9BC2-459A-8705-BD99E0834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DFCB8994-61E9-4607-96FC-9B9CEB5E99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5258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images_3_summari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7598694-721D-C499-32B8-2559553463B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0000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z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D497C279-EB05-83B6-CAFE-F19E949417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6915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2D6D46A2-3813-48AC-B44F-11FED09C960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336840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436747DF-926E-3B9F-54BC-1491817508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4838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16" name="Placeholder 3">
            <a:extLst>
              <a:ext uri="{FF2B5EF4-FFF2-40B4-BE49-F238E27FC236}">
                <a16:creationId xmlns:a16="http://schemas.microsoft.com/office/drawing/2014/main" id="{912710EB-D5BC-4555-8C11-D849D8A5819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224838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379921-B222-AEF2-4C24-F79AEBA1B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C93700-768F-F0BD-FFA2-5E2889AAB11B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4" name="Classification">
            <a:extLst>
              <a:ext uri="{FF2B5EF4-FFF2-40B4-BE49-F238E27FC236}">
                <a16:creationId xmlns:a16="http://schemas.microsoft.com/office/drawing/2014/main" id="{7BC3E079-CD4E-AFD3-AEB4-D1848C22C0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5D40D82-A955-EDFD-14F8-9814CC1A2F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189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7584907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64125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38426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80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R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38426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5464AFE6-C7AF-431B-8B04-FA8719DF399C}"/>
              </a:ext>
            </a:extLst>
          </p:cNvPr>
          <p:cNvGrpSpPr/>
          <p:nvPr userDrawn="1"/>
        </p:nvGrpSpPr>
        <p:grpSpPr>
          <a:xfrm>
            <a:off x="9048329" y="5406322"/>
            <a:ext cx="2763415" cy="696125"/>
            <a:chOff x="9048328" y="5406321"/>
            <a:chExt cx="2763414" cy="696125"/>
          </a:xfrm>
        </p:grpSpPr>
        <p:pic>
          <p:nvPicPr>
            <p:cNvPr id="16" name="Graphique 12">
              <a:extLst>
                <a:ext uri="{FF2B5EF4-FFF2-40B4-BE49-F238E27FC236}">
                  <a16:creationId xmlns:a16="http://schemas.microsoft.com/office/drawing/2014/main" id="{533CEAB0-3602-4EF4-8078-1F0CB9C6A0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A8A28707-ED0C-4597-9138-2DCD4A3A72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64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 Ipsos MORI Lef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2" y="3001503"/>
            <a:ext cx="7551997" cy="461665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8"/>
            <a:ext cx="1638426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6 February, 2025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8" y="521853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3" y="4014515"/>
            <a:ext cx="2486309" cy="400110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0BEE2C7-3965-40D5-9332-7D786EDD1163}"/>
              </a:ext>
            </a:extLst>
          </p:cNvPr>
          <p:cNvGrpSpPr/>
          <p:nvPr userDrawn="1"/>
        </p:nvGrpSpPr>
        <p:grpSpPr>
          <a:xfrm>
            <a:off x="594746" y="5417572"/>
            <a:ext cx="2763415" cy="696125"/>
            <a:chOff x="9048328" y="5406321"/>
            <a:chExt cx="2763414" cy="696125"/>
          </a:xfrm>
        </p:grpSpPr>
        <p:pic>
          <p:nvPicPr>
            <p:cNvPr id="15" name="Graphique 12">
              <a:extLst>
                <a:ext uri="{FF2B5EF4-FFF2-40B4-BE49-F238E27FC236}">
                  <a16:creationId xmlns:a16="http://schemas.microsoft.com/office/drawing/2014/main" id="{C0E4F5C3-F4D6-4CC9-8F2D-9F795599D7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048328" y="5409219"/>
              <a:ext cx="756826" cy="693227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60867154-D632-49CB-A763-A328A22116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8418" y="5406321"/>
              <a:ext cx="1763324" cy="6829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1161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394589"/>
            <a:ext cx="7551996" cy="954108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988" y="1649867"/>
            <a:ext cx="7546216" cy="661720"/>
          </a:xfrm>
        </p:spPr>
        <p:txBody>
          <a:bodyPr wrap="square" lIns="108000" rIns="180000">
            <a:spAutoFit/>
          </a:bodyPr>
          <a:lstStyle>
            <a:lvl1pPr marL="450839" indent="-450839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63" indent="-314317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12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psos Knowledge Centre</a:t>
            </a:r>
          </a:p>
        </p:txBody>
      </p:sp>
    </p:spTree>
    <p:extLst>
      <p:ext uri="{BB962C8B-B14F-4D97-AF65-F5344CB8AC3E}">
        <p14:creationId xmlns:p14="http://schemas.microsoft.com/office/powerpoint/2010/main" val="1360428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Live October 2019</a:t>
            </a:r>
          </a:p>
        </p:txBody>
      </p:sp>
    </p:spTree>
    <p:extLst>
      <p:ext uri="{BB962C8B-B14F-4D97-AF65-F5344CB8AC3E}">
        <p14:creationId xmlns:p14="http://schemas.microsoft.com/office/powerpoint/2010/main" val="97305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806336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215" y="512678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Future Publications</a:t>
            </a:r>
          </a:p>
        </p:txBody>
      </p:sp>
    </p:spTree>
    <p:extLst>
      <p:ext uri="{BB962C8B-B14F-4D97-AF65-F5344CB8AC3E}">
        <p14:creationId xmlns:p14="http://schemas.microsoft.com/office/powerpoint/2010/main" val="604515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2"/>
            <a:ext cx="10097919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5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6"/>
            <a:ext cx="3838044" cy="530455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Future Publication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5700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Knowledge Centre</a:t>
            </a:r>
          </a:p>
        </p:txBody>
      </p:sp>
    </p:spTree>
    <p:extLst>
      <p:ext uri="{BB962C8B-B14F-4D97-AF65-F5344CB8AC3E}">
        <p14:creationId xmlns:p14="http://schemas.microsoft.com/office/powerpoint/2010/main" val="1921348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l_4_images_with commenta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55C23FA-A39C-47E2-B32E-D31B7F81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D5D8EA5-7317-FA5E-316E-1D3D71DF6AA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635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8" name="Text Box 1">
            <a:extLst>
              <a:ext uri="{FF2B5EF4-FFF2-40B4-BE49-F238E27FC236}">
                <a16:creationId xmlns:a16="http://schemas.microsoft.com/office/drawing/2014/main" id="{A4FE8203-E4D0-7D71-9DAB-DCD79DF294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0148" y="4165598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Box 2">
            <a:extLst>
              <a:ext uri="{FF2B5EF4-FFF2-40B4-BE49-F238E27FC236}">
                <a16:creationId xmlns:a16="http://schemas.microsoft.com/office/drawing/2014/main" id="{3893695E-4514-8C5C-A541-ACC2C0140D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8265" y="4165598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Box 3">
            <a:extLst>
              <a:ext uri="{FF2B5EF4-FFF2-40B4-BE49-F238E27FC236}">
                <a16:creationId xmlns:a16="http://schemas.microsoft.com/office/drawing/2014/main" id="{E6E126AC-28F0-4A7D-DC28-46188F46FAA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4913" y="4165598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Box 4">
            <a:extLst>
              <a:ext uri="{FF2B5EF4-FFF2-40B4-BE49-F238E27FC236}">
                <a16:creationId xmlns:a16="http://schemas.microsoft.com/office/drawing/2014/main" id="{9A2242AD-0A81-133A-985E-D1CF4585102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70020" y="4151084"/>
            <a:ext cx="2563812" cy="1495427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10E05C-FACD-735A-D8B6-65B787A7C515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216BF9A-6BA6-35A3-FAD8-E4C7E65B2A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1349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FC92A1A9-8935-05F9-478C-509E31A7C35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65063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C90786FC-B649-5DE3-D2C4-49F260FE2D9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168776" y="1827015"/>
            <a:ext cx="2563200" cy="2183266"/>
          </a:xfrm>
          <a:custGeom>
            <a:avLst/>
            <a:gdLst>
              <a:gd name="connsiteX0" fmla="*/ 0 w 2563200"/>
              <a:gd name="connsiteY0" fmla="*/ 0 h 2183266"/>
              <a:gd name="connsiteX1" fmla="*/ 2563200 w 2563200"/>
              <a:gd name="connsiteY1" fmla="*/ 0 h 2183266"/>
              <a:gd name="connsiteX2" fmla="*/ 2563200 w 2563200"/>
              <a:gd name="connsiteY2" fmla="*/ 1868011 h 2183266"/>
              <a:gd name="connsiteX3" fmla="*/ 2247945 w 2563200"/>
              <a:gd name="connsiteY3" fmla="*/ 2183266 h 2183266"/>
              <a:gd name="connsiteX4" fmla="*/ 0 w 2563200"/>
              <a:gd name="connsiteY4" fmla="*/ 2183266 h 21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183266">
                <a:moveTo>
                  <a:pt x="0" y="0"/>
                </a:moveTo>
                <a:lnTo>
                  <a:pt x="2563200" y="0"/>
                </a:lnTo>
                <a:lnTo>
                  <a:pt x="2563200" y="1868011"/>
                </a:lnTo>
                <a:lnTo>
                  <a:pt x="2247945" y="2183266"/>
                </a:lnTo>
                <a:lnTo>
                  <a:pt x="0" y="2183266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1308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856548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581275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047569" cy="4539704"/>
          </a:xfrm>
        </p:spPr>
        <p:txBody>
          <a:bodyPr wrap="none">
            <a:spAutoFit/>
          </a:bodyPr>
          <a:lstStyle>
            <a:lvl1pPr marL="0" indent="0">
              <a:buNone/>
              <a:defRPr sz="286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2"/>
            <a:ext cx="7551996" cy="1618477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3"/>
            <a:ext cx="7551996" cy="86177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687114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 &amp; green lin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6E579EA-91DA-4593-8EE7-8C7BD8E9B3C4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F1B386-0FAE-41CE-A984-7AA20FB08BC9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0DDFB2-256F-44A1-BD31-110E23E23F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7" y="5914633"/>
            <a:ext cx="11382428" cy="215444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C7EC617-99AC-4619-A3E2-03F03BE503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587" y="1301922"/>
            <a:ext cx="2383767" cy="353943"/>
          </a:xfrm>
          <a:solidFill>
            <a:schemeClr val="bg1"/>
          </a:solidFill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AC638226-1503-4686-A47D-719DAE7E1EF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A7D057F7-5350-4EA2-9720-F7C82D8742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0484B6EF-AF21-476B-9A05-614E9257A12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1DD0896-E435-45AB-A276-C01A7737A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6472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8">
          <p15:clr>
            <a:srgbClr val="F26B43"/>
          </p15:clr>
        </p15:guide>
        <p15:guide id="5" orient="horz" pos="1040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0957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8382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0957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423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11363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575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09869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14953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20037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2389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309869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14953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20037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03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ingle column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ingle column layout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A7685-C79C-C21F-A344-32CC624F8F20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694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IKC Future Publications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904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FFA1AA5-BD0A-4DA2-B673-FFA69DD82A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8781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60471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2471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50B9D53-EB0D-4D50-9A03-24095E62AB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18125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FEB6BD6-1F6B-4CDA-A8BD-7B9947B8A3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26739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825158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075614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2C66637-89A9-4034-A3B9-5E2458610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15656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37237CF-7891-41A0-8496-C3B641A44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5908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TY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2B650A8-9C21-DC86-F471-38B40FC6D5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975100 h 6858000"/>
              <a:gd name="connsiteX3" fmla="*/ 93091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975100"/>
                </a:lnTo>
                <a:lnTo>
                  <a:pt x="93091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sz="1800"/>
            </a:lvl1pPr>
          </a:lstStyle>
          <a:p>
            <a:pPr lvl="0" algn="ctr"/>
            <a:r>
              <a:rPr lang="en-GB" dirty="0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6797676" cy="715669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4800" b="0" cap="all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291164C1-FFDE-EA90-BDBC-A8ECC8F00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4720771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718674118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nging sid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8339B-491C-FFB1-1D03-FBEC566DA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01874"/>
            <a:ext cx="3540125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2FEDE2-F5A1-7181-F7EE-8B93838D0D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2288" y="701675"/>
            <a:ext cx="7416800" cy="4959350"/>
          </a:xfrm>
        </p:spPr>
        <p:txBody>
          <a:bodyPr numCol="1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897003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10769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20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47294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934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4257410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704998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F3B4695-392F-4D5E-A21D-D31873D40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413899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7AFC4AA-0C36-4C10-8687-BEDF59DC2D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424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40479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60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x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5245E30C-ACBC-4426-8962-C03D3DB3F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FED60B5C-31E2-4ABE-BB94-6CC89A3FD7F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53284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7" name="Placeholder 3">
            <a:extLst>
              <a:ext uri="{FF2B5EF4-FFF2-40B4-BE49-F238E27FC236}">
                <a16:creationId xmlns:a16="http://schemas.microsoft.com/office/drawing/2014/main" id="{F0AC0C8B-24FF-433E-9C4D-B350C449B331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76263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8" name="Placeholder 4">
            <a:extLst>
              <a:ext uri="{FF2B5EF4-FFF2-40B4-BE49-F238E27FC236}">
                <a16:creationId xmlns:a16="http://schemas.microsoft.com/office/drawing/2014/main" id="{2293604D-A39C-4151-970A-A0EBEBFE9FBE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74577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31193922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77056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16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392517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4289296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7927E3E-1782-4A07-BD59-371C4D8227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95903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6BACE50-F370-4AF7-A623-EFA8E8D0F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44318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28892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6021" y="1808820"/>
            <a:ext cx="551119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277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42634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091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53369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6721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ngin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9300" y="2286000"/>
            <a:ext cx="5456880" cy="3662363"/>
          </a:xfr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E9919A9-E10C-40B2-4E9E-9822C6505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7452" y="701874"/>
            <a:ext cx="5481636" cy="1203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6845480-75B4-4B86-F67E-4E72A36623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5203" y="0"/>
            <a:ext cx="5479313" cy="5948363"/>
          </a:xfrm>
          <a:custGeom>
            <a:avLst/>
            <a:gdLst>
              <a:gd name="connsiteX0" fmla="*/ 0 w 5479313"/>
              <a:gd name="connsiteY0" fmla="*/ 0 h 5948363"/>
              <a:gd name="connsiteX1" fmla="*/ 5479313 w 5479313"/>
              <a:gd name="connsiteY1" fmla="*/ 0 h 5948363"/>
              <a:gd name="connsiteX2" fmla="*/ 5479313 w 5479313"/>
              <a:gd name="connsiteY2" fmla="*/ 5233658 h 5948363"/>
              <a:gd name="connsiteX3" fmla="*/ 4764608 w 5479313"/>
              <a:gd name="connsiteY3" fmla="*/ 5948363 h 5948363"/>
              <a:gd name="connsiteX4" fmla="*/ 0 w 547931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9313" h="5948363">
                <a:moveTo>
                  <a:pt x="0" y="0"/>
                </a:moveTo>
                <a:lnTo>
                  <a:pt x="5479313" y="0"/>
                </a:lnTo>
                <a:lnTo>
                  <a:pt x="5479313" y="5233658"/>
                </a:lnTo>
                <a:lnTo>
                  <a:pt x="4764608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81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765889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04785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309877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214969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120060" y="1808820"/>
            <a:ext cx="2667155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6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181270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80675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95618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9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042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8831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4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9" y="1993901"/>
            <a:ext cx="2378847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4787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5981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7174" y="2785489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08369" y="2785487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10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9308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30229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8"/>
            <a:ext cx="3195011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92673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94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ngin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9D3931C-344A-A16B-9670-84E2DE4A2AE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62687" y="0"/>
            <a:ext cx="5479313" cy="5948363"/>
          </a:xfrm>
          <a:custGeom>
            <a:avLst/>
            <a:gdLst>
              <a:gd name="connsiteX0" fmla="*/ 0 w 5479313"/>
              <a:gd name="connsiteY0" fmla="*/ 0 h 5948363"/>
              <a:gd name="connsiteX1" fmla="*/ 5479313 w 5479313"/>
              <a:gd name="connsiteY1" fmla="*/ 0 h 5948363"/>
              <a:gd name="connsiteX2" fmla="*/ 5479313 w 5479313"/>
              <a:gd name="connsiteY2" fmla="*/ 5233658 h 5948363"/>
              <a:gd name="connsiteX3" fmla="*/ 4764608 w 5479313"/>
              <a:gd name="connsiteY3" fmla="*/ 5948363 h 5948363"/>
              <a:gd name="connsiteX4" fmla="*/ 0 w 547931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9313" h="5948363">
                <a:moveTo>
                  <a:pt x="0" y="0"/>
                </a:moveTo>
                <a:lnTo>
                  <a:pt x="5479313" y="0"/>
                </a:lnTo>
                <a:lnTo>
                  <a:pt x="5479313" y="5233658"/>
                </a:lnTo>
                <a:lnTo>
                  <a:pt x="4764608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999" y="1792800"/>
            <a:ext cx="5498363" cy="4155563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6247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8"/>
            <a:ext cx="3195011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marL="447663" lvl="1" indent="-314317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9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30" y="1993901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10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7325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7" y="1993901"/>
            <a:ext cx="2378847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3" y="1993901"/>
            <a:ext cx="2378847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9" y="1993901"/>
            <a:ext cx="2378847" cy="338554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1"/>
            <a:ext cx="2378847" cy="338554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889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0986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6085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31183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50555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7" y="1993901"/>
            <a:ext cx="2378847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3" y="1993901"/>
            <a:ext cx="2378847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9" y="1993901"/>
            <a:ext cx="2378847" cy="338554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1"/>
            <a:ext cx="2378847" cy="338554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889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0986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6085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31183" y="2634118"/>
            <a:ext cx="2378847" cy="1525204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 marL="758806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43656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77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17061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5" y="1993899"/>
            <a:ext cx="3195009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2" y="1993899"/>
            <a:ext cx="3195009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4" y="1993899"/>
            <a:ext cx="3195009" cy="338554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8510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77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6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0145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17061" y="2634118"/>
            <a:ext cx="3195011" cy="1278983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63" indent="-314317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5" y="1993899"/>
            <a:ext cx="3195009" cy="338554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2" y="1993899"/>
            <a:ext cx="3195009" cy="338554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4" y="1993899"/>
            <a:ext cx="3195009" cy="338554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58453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7DF1024-681A-4B64-B209-B8AE20F4C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75351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7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04703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7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21055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9" y="1494907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9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5" y="1494907"/>
            <a:ext cx="1299067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0773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3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5" y="1808820"/>
            <a:ext cx="4431075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946F594-BA66-4464-A354-77BE6FF12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8" y="1368598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39017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me 1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2913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15" name="Placeholder 1">
            <a:extLst>
              <a:ext uri="{FF2B5EF4-FFF2-40B4-BE49-F238E27FC236}">
                <a16:creationId xmlns:a16="http://schemas.microsoft.com/office/drawing/2014/main" id="{A81DA3D4-EF88-48E1-A722-44D4D0FA1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913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0" name="Name 2">
            <a:extLst>
              <a:ext uri="{FF2B5EF4-FFF2-40B4-BE49-F238E27FC236}">
                <a16:creationId xmlns:a16="http://schemas.microsoft.com/office/drawing/2014/main" id="{71613F17-97E2-4491-9EF3-F01FFDE6E8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89282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1" name="Placeholder 2">
            <a:extLst>
              <a:ext uri="{FF2B5EF4-FFF2-40B4-BE49-F238E27FC236}">
                <a16:creationId xmlns:a16="http://schemas.microsoft.com/office/drawing/2014/main" id="{6F22912B-7D36-4077-8BFB-FDA6B7BA0E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89282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4" name="Name 3">
            <a:extLst>
              <a:ext uri="{FF2B5EF4-FFF2-40B4-BE49-F238E27FC236}">
                <a16:creationId xmlns:a16="http://schemas.microsoft.com/office/drawing/2014/main" id="{4ACD92D7-D8E5-4F1B-8FF3-A92BC817BD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35651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5" name="Placeholder 3">
            <a:extLst>
              <a:ext uri="{FF2B5EF4-FFF2-40B4-BE49-F238E27FC236}">
                <a16:creationId xmlns:a16="http://schemas.microsoft.com/office/drawing/2014/main" id="{459EAA34-4CBD-4836-8FB9-E4972A4D470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4491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95119930-DF3D-4F95-9821-DD803BEC06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82020" y="1728407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8" name="Placeholder 4">
            <a:extLst>
              <a:ext uri="{FF2B5EF4-FFF2-40B4-BE49-F238E27FC236}">
                <a16:creationId xmlns:a16="http://schemas.microsoft.com/office/drawing/2014/main" id="{F1EC47F3-3364-4097-9549-A48AAC2F52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8930" y="4149440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0" name="Name 5">
            <a:extLst>
              <a:ext uri="{FF2B5EF4-FFF2-40B4-BE49-F238E27FC236}">
                <a16:creationId xmlns:a16="http://schemas.microsoft.com/office/drawing/2014/main" id="{8BC3BB59-8297-4139-8EEB-7AA6A36205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28389" y="1728407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31" name="Placeholder 5">
            <a:extLst>
              <a:ext uri="{FF2B5EF4-FFF2-40B4-BE49-F238E27FC236}">
                <a16:creationId xmlns:a16="http://schemas.microsoft.com/office/drawing/2014/main" id="{3539E75B-AA24-4E49-B21A-8AAB8E62C4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93369" y="4149440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3" name="Name 6">
            <a:extLst>
              <a:ext uri="{FF2B5EF4-FFF2-40B4-BE49-F238E27FC236}">
                <a16:creationId xmlns:a16="http://schemas.microsoft.com/office/drawing/2014/main" id="{3F21806D-0731-464D-A660-3F50C5CAF6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174757" y="1714892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34" name="Placeholder 6">
            <a:extLst>
              <a:ext uri="{FF2B5EF4-FFF2-40B4-BE49-F238E27FC236}">
                <a16:creationId xmlns:a16="http://schemas.microsoft.com/office/drawing/2014/main" id="{E534BACD-3BA5-4149-ABE3-6C66E16EC23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127809" y="4135925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ADF9F4-0984-90BB-D24E-468E60FF0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Biographies / Team Slid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AACEFD-B915-0A46-F0D5-18898F9C42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2913" y="242545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0929D50-022D-171B-E0D9-189219148AF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389282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5252DD7-7237-AE6F-A768-127C2A883C8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324491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54F9465-CEA1-9BEA-65BC-07DE517E4AC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58930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1BCF32-98B4-EADC-44D5-5CEA937094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93369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9DEB166-4C7E-A020-1149-92ACB95FF7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0127809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3116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89283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418990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193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504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429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2722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541288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9556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1143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6471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6469"/>
            <a:ext cx="3121480" cy="338554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4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47" indent="0" algn="ctr">
              <a:buNone/>
              <a:defRPr/>
            </a:lvl2pPr>
            <a:lvl3pPr marL="542912" indent="0" algn="ctr">
              <a:buNone/>
              <a:defRPr/>
            </a:lvl3pPr>
            <a:lvl4pPr marL="758806" indent="0" algn="ctr">
              <a:buNone/>
              <a:defRPr/>
            </a:lvl4pPr>
            <a:lvl5pPr marL="1033437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5168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622930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/Statemen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1898850"/>
            <a:ext cx="6603801" cy="715669"/>
          </a:xfrm>
        </p:spPr>
        <p:txBody>
          <a:bodyPr/>
          <a:lstStyle>
            <a:lvl1pPr>
              <a:lnSpc>
                <a:spcPct val="100000"/>
              </a:lnSpc>
              <a:defRPr sz="3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Quote or statement here – </a:t>
            </a:r>
            <a:br>
              <a:rPr lang="en-US" dirty="0"/>
            </a:br>
            <a:r>
              <a:rPr lang="en-US" dirty="0"/>
              <a:t>only black text is fully accessible on teal, green or orange</a:t>
            </a:r>
            <a:endParaRPr lang="en-GB" dirty="0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7BBA45-30B2-1AE1-4D29-166B974CDEE5}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BE389E3-E2EF-EDE2-E4A2-16BA15C4F331}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2987A6-2A9A-15B5-784A-8648882BE9C2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6" name="Classification">
            <a:extLst>
              <a:ext uri="{FF2B5EF4-FFF2-40B4-BE49-F238E27FC236}">
                <a16:creationId xmlns:a16="http://schemas.microsoft.com/office/drawing/2014/main" id="{CB155B53-C991-F3E5-6D95-E75CE4A44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75859E8-09A5-D728-5408-AF719E295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852051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67690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5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5"/>
            <a:ext cx="3121480" cy="6617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898" indent="-88898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5" y="6135730"/>
            <a:ext cx="549900" cy="495919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80533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47267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0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036859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3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95966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788891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5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77267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9" y="1903446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5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2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47039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0155516-BCC0-4410-807D-67525D0A42A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258" y="1380831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6FB3B5F6-4F5D-4CAE-9690-721804EFB0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27257" y="2852738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A978016C-B88E-40AB-AB2D-DF2F2774C65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27257" y="4324644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34089C48-5735-4033-B8DC-480B42CE401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81861" y="1380830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3A9246D6-CE95-4559-BE3F-BF1FA17F7F8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81861" y="2852736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DD099383-4AF9-414F-B3A8-C92BE191C8E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1860" y="4324644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16786DEB-BEB9-4213-9BE2-35CC11607A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26821" y="1380831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EF068A10-996B-4236-A070-3DBF55A9770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426821" y="2852738"/>
            <a:ext cx="1357313" cy="1152525"/>
          </a:xfrm>
        </p:spPr>
        <p:txBody>
          <a:bodyPr/>
          <a:lstStyle/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9E2430C6-C110-44CA-84D8-7F6BB80B19F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426820" y="4324644"/>
            <a:ext cx="1357313" cy="115252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8475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63" indent="-314317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8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70" y="1368598"/>
            <a:ext cx="2311064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81189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HANK YOU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24" y="1092494"/>
            <a:ext cx="5391605" cy="715669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lassification">
            <a:extLst>
              <a:ext uri="{FF2B5EF4-FFF2-40B4-BE49-F238E27FC236}">
                <a16:creationId xmlns:a16="http://schemas.microsoft.com/office/drawing/2014/main" id="{A2DBDE31-A0D1-C0E0-CFCE-D83929DAC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69577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C8B51E2-FAFB-6EB4-638C-72A28E67F8E1}"/>
              </a:ext>
            </a:extLst>
          </p:cNvPr>
          <p:cNvSpPr/>
          <p:nvPr/>
        </p:nvSpPr>
        <p:spPr>
          <a:xfrm rot="16200000">
            <a:off x="3619500" y="-1714500"/>
            <a:ext cx="6858000" cy="10287000"/>
          </a:xfrm>
          <a:custGeom>
            <a:avLst/>
            <a:gdLst>
              <a:gd name="connsiteX0" fmla="*/ 6858000 w 6858000"/>
              <a:gd name="connsiteY0" fmla="*/ 6858000 h 10287000"/>
              <a:gd name="connsiteX1" fmla="*/ 6858000 w 6858000"/>
              <a:gd name="connsiteY1" fmla="*/ 10287000 h 10287000"/>
              <a:gd name="connsiteX2" fmla="*/ 3370139 w 6858000"/>
              <a:gd name="connsiteY2" fmla="*/ 10287000 h 10287000"/>
              <a:gd name="connsiteX3" fmla="*/ 0 w 6858000"/>
              <a:gd name="connsiteY3" fmla="*/ 6916861 h 10287000"/>
              <a:gd name="connsiteX4" fmla="*/ 0 w 6858000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0287000">
                <a:moveTo>
                  <a:pt x="6858000" y="6858000"/>
                </a:moveTo>
                <a:lnTo>
                  <a:pt x="6858000" y="10287000"/>
                </a:lnTo>
                <a:lnTo>
                  <a:pt x="3370139" y="10287000"/>
                </a:lnTo>
                <a:lnTo>
                  <a:pt x="0" y="691686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D0EB7A7D-8D5E-F9FC-C8D3-285DE34876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3551238" cy="127476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D9F6842-DC6A-38D0-9815-9F77EC5535C5}"/>
              </a:ext>
            </a:extLst>
          </p:cNvPr>
          <p:cNvSpPr/>
          <p:nvPr userDrawn="1"/>
        </p:nvSpPr>
        <p:spPr>
          <a:xfrm rot="16200000">
            <a:off x="3619500" y="-1714500"/>
            <a:ext cx="6858000" cy="10287000"/>
          </a:xfrm>
          <a:custGeom>
            <a:avLst/>
            <a:gdLst>
              <a:gd name="connsiteX0" fmla="*/ 6858000 w 6858000"/>
              <a:gd name="connsiteY0" fmla="*/ 6858000 h 10287000"/>
              <a:gd name="connsiteX1" fmla="*/ 6858000 w 6858000"/>
              <a:gd name="connsiteY1" fmla="*/ 10287000 h 10287000"/>
              <a:gd name="connsiteX2" fmla="*/ 3370139 w 6858000"/>
              <a:gd name="connsiteY2" fmla="*/ 10287000 h 10287000"/>
              <a:gd name="connsiteX3" fmla="*/ 0 w 6858000"/>
              <a:gd name="connsiteY3" fmla="*/ 6916861 h 10287000"/>
              <a:gd name="connsiteX4" fmla="*/ 0 w 6858000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0287000">
                <a:moveTo>
                  <a:pt x="6858000" y="6858000"/>
                </a:moveTo>
                <a:lnTo>
                  <a:pt x="6858000" y="10287000"/>
                </a:lnTo>
                <a:lnTo>
                  <a:pt x="3370139" y="10287000"/>
                </a:lnTo>
                <a:lnTo>
                  <a:pt x="0" y="691686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9C2A959-0D95-560C-4CF2-7A757051C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15333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BFBDEA92-538F-3B81-D73E-A3E28F80C016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GB" dirty="0"/>
              <a:t>Full bleed video</a:t>
            </a:r>
          </a:p>
        </p:txBody>
      </p:sp>
    </p:spTree>
    <p:extLst>
      <p:ext uri="{BB962C8B-B14F-4D97-AF65-F5344CB8AC3E}">
        <p14:creationId xmlns:p14="http://schemas.microsoft.com/office/powerpoint/2010/main" val="10884586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ull blee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 Photo">
            <a:extLst>
              <a:ext uri="{FF2B5EF4-FFF2-40B4-BE49-F238E27FC236}">
                <a16:creationId xmlns:a16="http://schemas.microsoft.com/office/drawing/2014/main" id="{F9C24E1D-7E68-48BF-A685-1162607AF1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880000" rtlCol="0" anchor="b">
            <a:noAutofit/>
          </a:bodyPr>
          <a:lstStyle>
            <a:lvl1pPr>
              <a:defRPr lang="en-GB" sz="1600" b="1" dirty="0"/>
            </a:lvl1pPr>
          </a:lstStyle>
          <a:p>
            <a:pPr lvl="0" algn="ctr"/>
            <a:r>
              <a:rPr lang="en-GB" dirty="0"/>
              <a:t>Click icon to add imag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450000"/>
            <a:ext cx="3962343" cy="3742438"/>
          </a:xfrm>
        </p:spPr>
        <p:txBody>
          <a:bodyPr anchor="t"/>
          <a:lstStyle>
            <a:lvl1pPr>
              <a:lnSpc>
                <a:spcPct val="100000"/>
              </a:lnSpc>
              <a:defRPr sz="4000" cap="none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 text background image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CCAC37C-0D5D-E65B-09A2-608E6183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079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tatement or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8B69072-8F91-57EB-1C5E-B1807F8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733800 h 6858000"/>
              <a:gd name="connsiteX3" fmla="*/ 90678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733800"/>
                </a:lnTo>
                <a:lnTo>
                  <a:pt x="90678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GB" dirty="0"/>
              <a:t>Click icon in centre to add image</a:t>
            </a:r>
            <a:br>
              <a:rPr lang="en-GB" dirty="0"/>
            </a:br>
            <a:r>
              <a:rPr lang="en-GB" dirty="0"/>
              <a:t>Send image to back so elements show on the page</a:t>
            </a:r>
          </a:p>
          <a:p>
            <a:pPr lvl="0" algn="ctr"/>
            <a:endParaRPr lang="en-GB" dirty="0"/>
          </a:p>
          <a:p>
            <a:pPr lvl="0" algn="ctr"/>
            <a:endParaRPr lang="en-GB" dirty="0"/>
          </a:p>
          <a:p>
            <a:pPr lvl="0" algn="ctr"/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0000" y="811950"/>
            <a:ext cx="5407103" cy="3742438"/>
          </a:xfrm>
        </p:spPr>
        <p:txBody>
          <a:bodyPr anchor="t"/>
          <a:lstStyle>
            <a:lvl1pPr>
              <a:defRPr sz="36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Summary text background image (text can be recoloured depending on image colour)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C6EB0DD-63C6-F7C4-F6E3-8D156B6157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5964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E4D39-4D4B-EF55-6284-160F99E53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8482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/Statement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er">
            <a:extLst>
              <a:ext uri="{FF2B5EF4-FFF2-40B4-BE49-F238E27FC236}">
                <a16:creationId xmlns:a16="http://schemas.microsoft.com/office/drawing/2014/main" id="{6953A8D2-20EB-4DFB-893E-8DCA6475D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9450" y="-775597"/>
            <a:ext cx="9341700" cy="7755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– KEEP HERE FOR ACCESSIBILITY</a:t>
            </a:r>
            <a:endParaRPr lang="en-GB" dirty="0"/>
          </a:p>
        </p:txBody>
      </p:sp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900" y="2110704"/>
            <a:ext cx="8181699" cy="2636591"/>
          </a:xfrm>
        </p:spPr>
        <p:txBody>
          <a:bodyPr anchor="t">
            <a:normAutofit/>
          </a:bodyPr>
          <a:lstStyle>
            <a:lvl1pPr marL="0" indent="0">
              <a:buNone/>
              <a:defRPr sz="3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9AD269-0E94-5F57-BE08-5E10A41EC965}"/>
              </a:ext>
            </a:extLst>
          </p:cNvPr>
          <p:cNvSpPr/>
          <p:nvPr/>
        </p:nvSpPr>
        <p:spPr>
          <a:xfrm rot="5400000">
            <a:off x="-3945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4A53C-A760-B980-C1BA-3D631697281C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467DB697-633F-AE80-3288-0093F641E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AD1135DF-99C2-8442-95A0-2BE142A567EA}"/>
              </a:ext>
            </a:extLst>
          </p:cNvPr>
          <p:cNvSpPr/>
          <p:nvPr userDrawn="1"/>
        </p:nvSpPr>
        <p:spPr>
          <a:xfrm rot="5400000">
            <a:off x="-3945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D8342E7-3A65-C949-FF97-239FDBE26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038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/Statement sty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er">
            <a:extLst>
              <a:ext uri="{FF2B5EF4-FFF2-40B4-BE49-F238E27FC236}">
                <a16:creationId xmlns:a16="http://schemas.microsoft.com/office/drawing/2014/main" id="{6953A8D2-20EB-4DFB-893E-8DCA6475D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9450" y="-775597"/>
            <a:ext cx="9341700" cy="7755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– KEEP HERE FOR ACCESSIBILITY</a:t>
            </a:r>
            <a:endParaRPr lang="en-GB" dirty="0"/>
          </a:p>
        </p:txBody>
      </p:sp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900" y="2110704"/>
            <a:ext cx="8181699" cy="2636591"/>
          </a:xfrm>
        </p:spPr>
        <p:txBody>
          <a:bodyPr anchor="t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9AD269-0E94-5F57-BE08-5E10A41EC965}"/>
              </a:ext>
            </a:extLst>
          </p:cNvPr>
          <p:cNvSpPr/>
          <p:nvPr userDrawn="1"/>
        </p:nvSpPr>
        <p:spPr>
          <a:xfrm rot="16200000">
            <a:off x="9067800" y="3733799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4A53C-A760-B980-C1BA-3D631697281C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467DB697-633F-AE80-3288-0093F641E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07B1A339-6C75-07F1-9C25-457A1585ABE5}"/>
              </a:ext>
            </a:extLst>
          </p:cNvPr>
          <p:cNvSpPr/>
          <p:nvPr userDrawn="1"/>
        </p:nvSpPr>
        <p:spPr>
          <a:xfrm rot="16200000">
            <a:off x="9067800" y="3748313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234F138-613C-0A6C-F7CB-DEA6C97A31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02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 key poi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55C23FA-A39C-47E2-B32E-D31B7F81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3 key points layout</a:t>
            </a:r>
            <a:endParaRPr lang="en-GB" dirty="0"/>
          </a:p>
        </p:txBody>
      </p:sp>
      <p:sp>
        <p:nvSpPr>
          <p:cNvPr id="23" name="No. 1">
            <a:extLst>
              <a:ext uri="{FF2B5EF4-FFF2-40B4-BE49-F238E27FC236}">
                <a16:creationId xmlns:a16="http://schemas.microsoft.com/office/drawing/2014/main" id="{8933E780-68DF-AEFF-FB64-64A8AC3BC8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4599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F07BEC-475C-D95A-2313-6FF423D6911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9999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No. 2">
            <a:extLst>
              <a:ext uri="{FF2B5EF4-FFF2-40B4-BE49-F238E27FC236}">
                <a16:creationId xmlns:a16="http://schemas.microsoft.com/office/drawing/2014/main" id="{30E98F8F-3061-8682-1A3F-E78E0C8D3F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98690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12F4A0-FD3C-1B4E-7C0D-A6CD56FB0F3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2287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No. 3">
            <a:extLst>
              <a:ext uri="{FF2B5EF4-FFF2-40B4-BE49-F238E27FC236}">
                <a16:creationId xmlns:a16="http://schemas.microsoft.com/office/drawing/2014/main" id="{60835E92-0DA1-DBA3-87F3-D6CA2B63B0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62924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rgbClr val="E3D8F0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5EC94-06CC-02DF-99F1-D843B6EC5E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20073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94FC2C-B470-E22E-D383-B44D7B951CD9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4" name="Classification">
            <a:extLst>
              <a:ext uri="{FF2B5EF4-FFF2-40B4-BE49-F238E27FC236}">
                <a16:creationId xmlns:a16="http://schemas.microsoft.com/office/drawing/2014/main" id="{67B23A15-646C-F76F-AD69-AE049FD50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C5EA47B-0866-1154-09FC-C7C7B64197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245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x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B80FCDC1-4ADD-40AF-8A4F-44573B125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5456880" cy="3861312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3992" y="1808163"/>
            <a:ext cx="5456880" cy="3861312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742390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2249714"/>
            <a:ext cx="3527425" cy="36986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15FE5BE-74FF-2205-1A8F-C1AA45D1D8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32288" y="0"/>
            <a:ext cx="7410450" cy="5948363"/>
          </a:xfrm>
          <a:custGeom>
            <a:avLst/>
            <a:gdLst>
              <a:gd name="connsiteX0" fmla="*/ 0 w 7410450"/>
              <a:gd name="connsiteY0" fmla="*/ 0 h 5948363"/>
              <a:gd name="connsiteX1" fmla="*/ 7410450 w 7410450"/>
              <a:gd name="connsiteY1" fmla="*/ 0 h 5948363"/>
              <a:gd name="connsiteX2" fmla="*/ 7410450 w 7410450"/>
              <a:gd name="connsiteY2" fmla="*/ 4975605 h 5948363"/>
              <a:gd name="connsiteX3" fmla="*/ 6437692 w 7410450"/>
              <a:gd name="connsiteY3" fmla="*/ 5948363 h 5948363"/>
              <a:gd name="connsiteX4" fmla="*/ 0 w 7410450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0450" h="5948363">
                <a:moveTo>
                  <a:pt x="0" y="0"/>
                </a:moveTo>
                <a:lnTo>
                  <a:pt x="7410450" y="0"/>
                </a:lnTo>
                <a:lnTo>
                  <a:pt x="7410450" y="4975605"/>
                </a:lnTo>
                <a:lnTo>
                  <a:pt x="6437692" y="5948363"/>
                </a:lnTo>
                <a:lnTo>
                  <a:pt x="0" y="5948363"/>
                </a:lnTo>
                <a:close/>
              </a:path>
            </a:pathLst>
          </a:cu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insert ima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EFA78C8-BF85-C18D-67D3-7D18DF4C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3520338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942767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_imag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88DD43FA-3336-4415-A3A6-54EA3C9BB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4232" y="450000"/>
            <a:ext cx="3526688" cy="1116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3183" y="2293257"/>
            <a:ext cx="3526689" cy="3655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01481FF-ECD9-985C-6949-42B804BF0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1476" y="0"/>
            <a:ext cx="7398237" cy="5948363"/>
          </a:xfrm>
          <a:custGeom>
            <a:avLst/>
            <a:gdLst>
              <a:gd name="connsiteX0" fmla="*/ 0 w 7398237"/>
              <a:gd name="connsiteY0" fmla="*/ 0 h 5948363"/>
              <a:gd name="connsiteX1" fmla="*/ 7398237 w 7398237"/>
              <a:gd name="connsiteY1" fmla="*/ 0 h 5948363"/>
              <a:gd name="connsiteX2" fmla="*/ 7398237 w 7398237"/>
              <a:gd name="connsiteY2" fmla="*/ 4958167 h 5948363"/>
              <a:gd name="connsiteX3" fmla="*/ 6408041 w 7398237"/>
              <a:gd name="connsiteY3" fmla="*/ 5948363 h 5948363"/>
              <a:gd name="connsiteX4" fmla="*/ 0 w 7398237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8237" h="5948363">
                <a:moveTo>
                  <a:pt x="0" y="0"/>
                </a:moveTo>
                <a:lnTo>
                  <a:pt x="7398237" y="0"/>
                </a:lnTo>
                <a:lnTo>
                  <a:pt x="7398237" y="4958167"/>
                </a:lnTo>
                <a:lnTo>
                  <a:pt x="6408041" y="5948363"/>
                </a:lnTo>
                <a:lnTo>
                  <a:pt x="0" y="5948363"/>
                </a:lnTo>
                <a:close/>
              </a:path>
            </a:pathLst>
          </a:cu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901386882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_diagram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3149600"/>
            <a:ext cx="3527425" cy="27987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hart / Diagram">
            <a:extLst>
              <a:ext uri="{FF2B5EF4-FFF2-40B4-BE49-F238E27FC236}">
                <a16:creationId xmlns:a16="http://schemas.microsoft.com/office/drawing/2014/main" id="{F20073CF-87BF-427F-936A-47B5E1B160C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83075" y="692150"/>
            <a:ext cx="7466013" cy="525621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rea for diagram/chart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C028A4-1CB4-EB71-790E-1C2A8CEDA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3520338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1661382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A52833-39E6-9C79-CAB3-DC23900DC7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0724" y="0"/>
            <a:ext cx="10205810" cy="6858000"/>
          </a:xfrm>
          <a:custGeom>
            <a:avLst/>
            <a:gdLst>
              <a:gd name="connsiteX0" fmla="*/ 6858000 w 10205810"/>
              <a:gd name="connsiteY0" fmla="*/ 0 h 6858000"/>
              <a:gd name="connsiteX1" fmla="*/ 10205810 w 10205810"/>
              <a:gd name="connsiteY1" fmla="*/ 0 h 6858000"/>
              <a:gd name="connsiteX2" fmla="*/ 10205810 w 10205810"/>
              <a:gd name="connsiteY2" fmla="*/ 6858000 h 6858000"/>
              <a:gd name="connsiteX3" fmla="*/ 0 w 1020581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05810" h="6858000">
                <a:moveTo>
                  <a:pt x="6858000" y="0"/>
                </a:moveTo>
                <a:lnTo>
                  <a:pt x="10205810" y="0"/>
                </a:lnTo>
                <a:lnTo>
                  <a:pt x="1020581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bIns="2880000" anchor="b">
            <a:noAutofit/>
          </a:bodyPr>
          <a:lstStyle>
            <a:lvl1pPr algn="ctr">
              <a:defRPr sz="1600" b="1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8B1008-691B-2905-EF01-F1E5DA88F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6255600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ECD6FAED-FE49-D7A6-F947-84218F633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54026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tx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8563C0F-140E-C44F-13AA-9936BA1F62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582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ight half hanging bo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D3D8EE6-A539-C0F7-857D-88B6300E20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6253799 w 12192000"/>
              <a:gd name="connsiteY1" fmla="*/ 0 h 6858000"/>
              <a:gd name="connsiteX2" fmla="*/ 6253799 w 12192000"/>
              <a:gd name="connsiteY2" fmla="*/ 5948363 h 6858000"/>
              <a:gd name="connsiteX3" fmla="*/ 11065173 w 12192000"/>
              <a:gd name="connsiteY3" fmla="*/ 5948363 h 6858000"/>
              <a:gd name="connsiteX4" fmla="*/ 11752162 w 12192000"/>
              <a:gd name="connsiteY4" fmla="*/ 5258704 h 6858000"/>
              <a:gd name="connsiteX5" fmla="*/ 11752162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6253799" y="0"/>
                </a:lnTo>
                <a:lnTo>
                  <a:pt x="6253799" y="5948363"/>
                </a:lnTo>
                <a:lnTo>
                  <a:pt x="11065173" y="5948363"/>
                </a:lnTo>
                <a:lnTo>
                  <a:pt x="11752162" y="5258704"/>
                </a:lnTo>
                <a:lnTo>
                  <a:pt x="11752162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619" y="2301240"/>
            <a:ext cx="5498363" cy="3359785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1609AF-5375-B754-F2E7-A839AEF1C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6151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475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ingle column layou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272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A864E-24EC-4C5E-F552-C302F4C5CD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605969-D6FF-E051-284B-77E7A2F0A1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AD5AA-F92A-FAA2-C055-9EE423A14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B416EE-989F-4FEC-B3A8-BE09F47FE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774EF-82D1-F04F-36E8-939E6E647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4250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D211B9-799E-2C2B-9CB0-9BB32C009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2653C-09E5-5C6A-07B9-0B02FDC670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638AA4-ADCF-9A27-B334-A5F9F48F1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EFBF6-B1D2-BC5D-AD3C-3CB9DF994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8EB7D6-68A9-3461-7987-15498E43A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076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3CC15-0EC5-6516-E4C0-CA29A80F1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0BCB2D-BB13-0FB3-8996-A716032D74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DB4FEA-350B-A2FC-61CC-390F6A534F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93CC9A-AEF2-17F0-B471-60F49A4E2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71619-F436-A4D6-ABB0-B52CEB30EC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7099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E36FE-052F-7738-9360-E0B21BC7D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5C20C-F690-BF8E-AB7E-518E349870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2B812C-3297-79D4-C048-485F3B25CA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E1F888-92E2-FDBA-C55F-097EC1D2B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4A7533-38C8-240C-16D2-66DCD855F2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F72F0E-8529-CF4E-EEDA-8882E118B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2320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8CF4-C5DA-A6C0-7DF3-EA69CAA30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05DCCB-2F0C-5F8D-7BBE-C58913864F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EA75E1-8DC5-6EA3-E2B1-32F169C50A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9BF957-40CD-96A5-89AB-EC254750D1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9237F5-173C-A31C-8AEF-B6E5595FAF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B7200A8-04DD-0A9B-C746-B1B6B5393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4CE38A-1002-3108-6D6B-0DF69F047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8BFD10-3D87-F258-0351-970280377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3745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4C51F-632F-D00F-150D-7EA30852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08590-98DD-CFD3-C7FE-3EE7F11D4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29065D-D80B-8D38-7CD3-6D0CCC497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A355F1-D016-3563-70E0-FE8DFFF98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8240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A7A1C0-092C-38A4-3ED1-A64A73503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C69FB4-8A02-90F4-634D-31963303F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3BD1F-2D64-EB46-7835-08089E1E7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3038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B41C7-0027-BEBF-85CC-B70AA3A2A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27D21-98C6-2C32-F7F8-C801ED87F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C716B1-293E-681C-131E-3B0F17DD12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D717AB-64B2-8589-2F03-EA637E55D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AD1DB7-3B94-AA56-B2BB-6FB8FBA10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384FB1-E316-B80F-C44A-9D375AB41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7519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0A93F-0CBE-9583-8521-C51DE2206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471F9C-3FB2-459C-2CAC-BD02DF6DE1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42A692-1044-0901-3917-BE05A9964B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17D660-9096-2264-EFA0-F8B0D318B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21AC13-ADE8-008B-0710-72693563D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950FAD-2964-DEB5-20D6-29993820E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9581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B6F547-98DF-4264-FC86-B0F19F8FF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A37BEF-ED2B-8599-4A6E-8A640BA694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3D6AA9-AB91-5066-3DE2-67D0BD20B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6766A-7833-6317-05C8-CECB74C44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8A1AC9-F9DA-B862-D2C2-E540A7A10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422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nging box title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5DCA5B4-84E6-C16E-3495-F7C93535FD02}"/>
              </a:ext>
            </a:extLst>
          </p:cNvPr>
          <p:cNvSpPr/>
          <p:nvPr userDrawn="1"/>
        </p:nvSpPr>
        <p:spPr>
          <a:xfrm>
            <a:off x="0" y="0"/>
            <a:ext cx="12298680" cy="6858000"/>
          </a:xfrm>
          <a:custGeom>
            <a:avLst/>
            <a:gdLst>
              <a:gd name="connsiteX0" fmla="*/ 0 w 12298680"/>
              <a:gd name="connsiteY0" fmla="*/ 0 h 6858000"/>
              <a:gd name="connsiteX1" fmla="*/ 452513 w 12298680"/>
              <a:gd name="connsiteY1" fmla="*/ 0 h 6858000"/>
              <a:gd name="connsiteX2" fmla="*/ 452513 w 12298680"/>
              <a:gd name="connsiteY2" fmla="*/ 5995686 h 6858000"/>
              <a:gd name="connsiteX3" fmla="*/ 3403129 w 12298680"/>
              <a:gd name="connsiteY3" fmla="*/ 5995686 h 6858000"/>
              <a:gd name="connsiteX4" fmla="*/ 3993266 w 12298680"/>
              <a:gd name="connsiteY4" fmla="*/ 5405549 h 6858000"/>
              <a:gd name="connsiteX5" fmla="*/ 3993266 w 12298680"/>
              <a:gd name="connsiteY5" fmla="*/ 0 h 6858000"/>
              <a:gd name="connsiteX6" fmla="*/ 12298680 w 12298680"/>
              <a:gd name="connsiteY6" fmla="*/ 0 h 6858000"/>
              <a:gd name="connsiteX7" fmla="*/ 12298680 w 12298680"/>
              <a:gd name="connsiteY7" fmla="*/ 6858000 h 6858000"/>
              <a:gd name="connsiteX8" fmla="*/ 0 w 1229868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8680" h="6858000">
                <a:moveTo>
                  <a:pt x="0" y="0"/>
                </a:moveTo>
                <a:lnTo>
                  <a:pt x="452513" y="0"/>
                </a:lnTo>
                <a:lnTo>
                  <a:pt x="452513" y="5995686"/>
                </a:lnTo>
                <a:lnTo>
                  <a:pt x="3403129" y="5995686"/>
                </a:lnTo>
                <a:lnTo>
                  <a:pt x="3993266" y="5405549"/>
                </a:lnTo>
                <a:lnTo>
                  <a:pt x="3993266" y="0"/>
                </a:lnTo>
                <a:lnTo>
                  <a:pt x="12298680" y="0"/>
                </a:lnTo>
                <a:lnTo>
                  <a:pt x="122986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A895AA-9637-BA9D-6A51-32AABDD1EEE6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10" name="Classification">
            <a:extLst>
              <a:ext uri="{FF2B5EF4-FFF2-40B4-BE49-F238E27FC236}">
                <a16:creationId xmlns:a16="http://schemas.microsoft.com/office/drawing/2014/main" id="{FDA94CA4-3E8E-2820-45B1-D61F9D06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tx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945CAF-8B8F-45C0-E119-0D8E0A52E5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2" y="701874"/>
            <a:ext cx="3149601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099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F3822FF-94F1-AB6D-A809-75278103CF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BE9988-1961-AA62-3A64-1FC1326755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0D76CB-A064-1785-5619-D2CB1CE57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0DF5BA-C3E6-7F71-DA66-8E9492F8B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35CFFB-22D6-8873-FB71-24E44C7FD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700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5B275-0D3C-824B-B7C0-FDF21D5321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184A9B-348C-E14A-9053-8352DD9D1C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 b="1" i="0"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D7F063-577E-9A48-B0A5-82D55B9EF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C61521-5BD9-B145-85F1-7A6214F1E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E4C44-4210-3644-B7C2-9CB505484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1630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B7ABE-91E5-A845-8582-81BBE458B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B4FC39-40B6-7B46-A3BB-D031E8E07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8BDCD8-D4E0-1A42-8A09-1D3315297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2EBF9C-471A-C64D-AD4A-04595F2DD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371FF4-48E0-1045-90F8-35EE9CD1B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8037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2D846-57D0-BF45-BFDE-76026FA03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35D5F5-229B-AD42-8131-8F2512E2E8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 b="1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7A0C65-F949-1642-A4D9-7E7775BD51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49A058-103D-3E45-8941-37465E7F13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64250-CCB7-3C41-A7B3-39BC3C837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119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FA033-F94B-444F-AEB7-F15BCAABC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68A79A-F3C5-3A49-8713-E889976E92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DF1C15-90A6-4D4C-A923-690960F919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DC61ED-840B-714A-A747-684C09745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36FBE9-4395-9349-9468-0AB663BB9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D84216-F1B9-734B-B436-803BF1916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9189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D0E8A-045E-7847-9540-A443DCC57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8811D-7378-9A43-A907-FC590B6D3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912385-2E08-3B4B-B0E5-B53420128C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78B9B4-0B2A-904D-8FC7-5CC7A129CB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1B5394-4AF5-C544-A271-909A9D1DC6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431D28-027A-424D-8040-C78D8F803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7CB7E9-2161-B749-B226-E6D358A8C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A3C10E-9479-F742-9D80-DBBCCA84F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3395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EEC7A-C2E8-CA48-A5E5-C08F4B508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D2D4E5-B5B2-2F4C-A971-C7A3D78CB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594B43-5866-6945-9C83-7118462C8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949FEA-EC49-BE47-9FD6-AE06DC853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4033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D4F71EA-EC29-D948-BC42-472164DAE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F2CCD-3C0C-5A4F-8949-91E5D5F35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7245F-3635-B547-8EB4-60DAED56B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09737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30F26-2600-FA44-A450-07CBDCF87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F9F675-7E29-CF43-A450-448E539F46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 b="1" i="0">
                <a:latin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</a:defRPr>
            </a:lvl2pPr>
            <a:lvl3pPr>
              <a:defRPr sz="2400" b="1" i="0">
                <a:latin typeface="Arial" panose="020B0604020202020204" pitchFamily="34" charset="0"/>
              </a:defRPr>
            </a:lvl3pPr>
            <a:lvl4pPr>
              <a:defRPr sz="2000" b="1" i="0">
                <a:latin typeface="Arial" panose="020B0604020202020204" pitchFamily="34" charset="0"/>
              </a:defRPr>
            </a:lvl4pPr>
            <a:lvl5pPr>
              <a:defRPr sz="2000" b="1" i="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3A3F70-95C5-EB42-A408-59880D744F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7195D5-292C-524D-BD18-B64B4AA28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D70F91-8747-0C4B-A74F-D40168E1B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06E95-54D7-E048-AFF7-DE3693AD7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1280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6A63A-5D5B-4E4F-9EED-5EC70E9BE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80C9E9-C46C-E648-8CB3-50F313F2AE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 b="1" i="0">
                <a:latin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6CF6D1-0DBF-7847-8B40-5F61FFE7F9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061E4A-AA75-6040-A8DE-01EA45884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6C3B30-2D53-EA49-B88D-7BC5B6136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6F82FD-7B48-3E49-AD0F-A149AD99F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826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ging box 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063580A-EAC7-6E57-6010-5EE06037E6CB}"/>
              </a:ext>
            </a:extLst>
          </p:cNvPr>
          <p:cNvSpPr/>
          <p:nvPr userDrawn="1"/>
        </p:nvSpPr>
        <p:spPr>
          <a:xfrm>
            <a:off x="0" y="0"/>
            <a:ext cx="12298680" cy="6858000"/>
          </a:xfrm>
          <a:custGeom>
            <a:avLst/>
            <a:gdLst>
              <a:gd name="connsiteX0" fmla="*/ 0 w 12298680"/>
              <a:gd name="connsiteY0" fmla="*/ 0 h 6858000"/>
              <a:gd name="connsiteX1" fmla="*/ 452513 w 12298680"/>
              <a:gd name="connsiteY1" fmla="*/ 0 h 6858000"/>
              <a:gd name="connsiteX2" fmla="*/ 452513 w 12298680"/>
              <a:gd name="connsiteY2" fmla="*/ 5995686 h 6858000"/>
              <a:gd name="connsiteX3" fmla="*/ 3403129 w 12298680"/>
              <a:gd name="connsiteY3" fmla="*/ 5995686 h 6858000"/>
              <a:gd name="connsiteX4" fmla="*/ 3993266 w 12298680"/>
              <a:gd name="connsiteY4" fmla="*/ 5405549 h 6858000"/>
              <a:gd name="connsiteX5" fmla="*/ 3993266 w 12298680"/>
              <a:gd name="connsiteY5" fmla="*/ 0 h 6858000"/>
              <a:gd name="connsiteX6" fmla="*/ 12298680 w 12298680"/>
              <a:gd name="connsiteY6" fmla="*/ 0 h 6858000"/>
              <a:gd name="connsiteX7" fmla="*/ 12298680 w 12298680"/>
              <a:gd name="connsiteY7" fmla="*/ 6858000 h 6858000"/>
              <a:gd name="connsiteX8" fmla="*/ 0 w 1229868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8680" h="6858000">
                <a:moveTo>
                  <a:pt x="0" y="0"/>
                </a:moveTo>
                <a:lnTo>
                  <a:pt x="452513" y="0"/>
                </a:lnTo>
                <a:lnTo>
                  <a:pt x="452513" y="5995686"/>
                </a:lnTo>
                <a:lnTo>
                  <a:pt x="3403129" y="5995686"/>
                </a:lnTo>
                <a:lnTo>
                  <a:pt x="3993266" y="5405549"/>
                </a:lnTo>
                <a:lnTo>
                  <a:pt x="3993266" y="0"/>
                </a:lnTo>
                <a:lnTo>
                  <a:pt x="12298680" y="0"/>
                </a:lnTo>
                <a:lnTo>
                  <a:pt x="122986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2" y="701874"/>
            <a:ext cx="3149601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73E53EB-3CF7-23AB-A106-C20DD2520C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2288" y="701675"/>
            <a:ext cx="7416800" cy="4959350"/>
          </a:xfrm>
        </p:spPr>
        <p:txBody>
          <a:bodyPr numCol="1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CA27D4-4DF4-8FC8-3F9B-1A76440CE057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3850495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18614-4329-7845-A13E-09CD01FE3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876232-FC63-9E44-A1D8-E35DFD0FD6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2C2E2F-F24D-AB43-9FA8-021292822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B7B80-3076-3041-8602-DE5672AD7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CDF34-BBA4-1A42-AA66-16DD3498E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4537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DB9BD5-D35D-0B40-8C37-C21CBD69BD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9FC41D-761F-AB40-A352-5DF8270B39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535FF-4E08-864F-B46D-1423C2FFC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4E89BE-62B4-EC4B-8441-E4AC77450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5B1A08-5230-F243-8BC5-B7BDBDD32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338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377"/>
            <a:fld id="{D61AABEC-672F-4B68-B914-690DA978312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r>
              <a:rPr lang="en-GB">
                <a:solidFill>
                  <a:prstClr val="black">
                    <a:tint val="75000"/>
                  </a:prstClr>
                </a:solidFill>
              </a:rPr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7" y="1368597"/>
            <a:ext cx="2506630" cy="323165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8" y="5926944"/>
            <a:ext cx="11463417" cy="203133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47" indent="0">
              <a:buNone/>
              <a:defRPr/>
            </a:lvl2pPr>
            <a:lvl3pPr marL="542912" indent="0">
              <a:buNone/>
              <a:defRPr/>
            </a:lvl3pPr>
            <a:lvl4pPr marL="758806" indent="0">
              <a:buNone/>
              <a:defRPr/>
            </a:lvl4pPr>
            <a:lvl5pPr marL="1033437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555671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5B275-0D3C-824B-B7C0-FDF21D5321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184A9B-348C-E14A-9053-8352DD9D1C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 b="1" i="0">
                <a:latin typeface="Arial" panose="020B0604020202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D7F063-577E-9A48-B0A5-82D55B9EF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C61521-5BD9-B145-85F1-7A6214F1E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E4C44-4210-3644-B7C2-9CB505484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35616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B7ABE-91E5-A845-8582-81BBE458B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B4FC39-40B6-7B46-A3BB-D031E8E07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8BDCD8-D4E0-1A42-8A09-1D3315297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2EBF9C-471A-C64D-AD4A-04595F2DD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371FF4-48E0-1045-90F8-35EE9CD1B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1970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2D846-57D0-BF45-BFDE-76026FA03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35D5F5-229B-AD42-8131-8F2512E2E8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 b="1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7A0C65-F949-1642-A4D9-7E7775BD51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49A058-103D-3E45-8941-37465E7F13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64250-CCB7-3C41-A7B3-39BC3C837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3037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FA033-F94B-444F-AEB7-F15BCAABC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68A79A-F3C5-3A49-8713-E889976E92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DF1C15-90A6-4D4C-A923-690960F919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DC61ED-840B-714A-A747-684C09745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36FBE9-4395-9349-9468-0AB663BB9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D84216-F1B9-734B-B436-803BF1916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6151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D0E8A-045E-7847-9540-A443DCC57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8811D-7378-9A43-A907-FC590B6D3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Arial" panose="020B06040202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912385-2E08-3B4B-B0E5-B53420128C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78B9B4-0B2A-904D-8FC7-5CC7A129CB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Arial" panose="020B06040202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1B5394-4AF5-C544-A271-909A9D1DC6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431D28-027A-424D-8040-C78D8F803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7CB7E9-2161-B749-B226-E6D358A8C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A3C10E-9479-F742-9D80-DBBCCA84F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1284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EEC7A-C2E8-CA48-A5E5-C08F4B508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D2D4E5-B5B2-2F4C-A971-C7A3D78CB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594B43-5866-6945-9C83-7118462C8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949FEA-EC49-BE47-9FD6-AE06DC853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71591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D4F71EA-EC29-D948-BC42-472164DAE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F2CCD-3C0C-5A4F-8949-91E5D5F35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7245F-3635-B547-8EB4-60DAED56B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520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45.xml"/><Relationship Id="rId63" Type="http://schemas.openxmlformats.org/officeDocument/2006/relationships/slideLayout" Target="../slideLayouts/slideLayout166.xml"/><Relationship Id="rId84" Type="http://schemas.openxmlformats.org/officeDocument/2006/relationships/slideLayout" Target="../slideLayouts/slideLayout187.xml"/><Relationship Id="rId138" Type="http://schemas.openxmlformats.org/officeDocument/2006/relationships/slideLayout" Target="../slideLayouts/slideLayout241.xml"/><Relationship Id="rId159" Type="http://schemas.openxmlformats.org/officeDocument/2006/relationships/slideLayout" Target="../slideLayouts/slideLayout262.xml"/><Relationship Id="rId170" Type="http://schemas.openxmlformats.org/officeDocument/2006/relationships/slideLayout" Target="../slideLayouts/slideLayout273.xml"/><Relationship Id="rId191" Type="http://schemas.openxmlformats.org/officeDocument/2006/relationships/slideLayout" Target="../slideLayouts/slideLayout294.xml"/><Relationship Id="rId205" Type="http://schemas.openxmlformats.org/officeDocument/2006/relationships/slideLayout" Target="../slideLayouts/slideLayout308.xml"/><Relationship Id="rId226" Type="http://schemas.openxmlformats.org/officeDocument/2006/relationships/slideLayout" Target="../slideLayouts/slideLayout329.xml"/><Relationship Id="rId247" Type="http://schemas.openxmlformats.org/officeDocument/2006/relationships/theme" Target="../theme/theme4.xml"/><Relationship Id="rId107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35.xml"/><Relationship Id="rId53" Type="http://schemas.openxmlformats.org/officeDocument/2006/relationships/slideLayout" Target="../slideLayouts/slideLayout156.xml"/><Relationship Id="rId74" Type="http://schemas.openxmlformats.org/officeDocument/2006/relationships/slideLayout" Target="../slideLayouts/slideLayout177.xml"/><Relationship Id="rId128" Type="http://schemas.openxmlformats.org/officeDocument/2006/relationships/slideLayout" Target="../slideLayouts/slideLayout231.xml"/><Relationship Id="rId149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108.xml"/><Relationship Id="rId95" Type="http://schemas.openxmlformats.org/officeDocument/2006/relationships/slideLayout" Target="../slideLayouts/slideLayout198.xml"/><Relationship Id="rId160" Type="http://schemas.openxmlformats.org/officeDocument/2006/relationships/slideLayout" Target="../slideLayouts/slideLayout263.xml"/><Relationship Id="rId181" Type="http://schemas.openxmlformats.org/officeDocument/2006/relationships/slideLayout" Target="../slideLayouts/slideLayout284.xml"/><Relationship Id="rId216" Type="http://schemas.openxmlformats.org/officeDocument/2006/relationships/slideLayout" Target="../slideLayouts/slideLayout319.xml"/><Relationship Id="rId237" Type="http://schemas.openxmlformats.org/officeDocument/2006/relationships/slideLayout" Target="../slideLayouts/slideLayout340.xml"/><Relationship Id="rId22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46.xml"/><Relationship Id="rId64" Type="http://schemas.openxmlformats.org/officeDocument/2006/relationships/slideLayout" Target="../slideLayouts/slideLayout167.xml"/><Relationship Id="rId118" Type="http://schemas.openxmlformats.org/officeDocument/2006/relationships/slideLayout" Target="../slideLayouts/slideLayout221.xml"/><Relationship Id="rId139" Type="http://schemas.openxmlformats.org/officeDocument/2006/relationships/slideLayout" Target="../slideLayouts/slideLayout242.xml"/><Relationship Id="rId85" Type="http://schemas.openxmlformats.org/officeDocument/2006/relationships/slideLayout" Target="../slideLayouts/slideLayout188.xml"/><Relationship Id="rId150" Type="http://schemas.openxmlformats.org/officeDocument/2006/relationships/slideLayout" Target="../slideLayouts/slideLayout253.xml"/><Relationship Id="rId171" Type="http://schemas.openxmlformats.org/officeDocument/2006/relationships/slideLayout" Target="../slideLayouts/slideLayout274.xml"/><Relationship Id="rId192" Type="http://schemas.openxmlformats.org/officeDocument/2006/relationships/slideLayout" Target="../slideLayouts/slideLayout295.xml"/><Relationship Id="rId206" Type="http://schemas.openxmlformats.org/officeDocument/2006/relationships/slideLayout" Target="../slideLayouts/slideLayout309.xml"/><Relationship Id="rId227" Type="http://schemas.openxmlformats.org/officeDocument/2006/relationships/slideLayout" Target="../slideLayouts/slideLayout330.xml"/><Relationship Id="rId248" Type="http://schemas.openxmlformats.org/officeDocument/2006/relationships/tags" Target="../tags/tag6.xml"/><Relationship Id="rId12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36.xml"/><Relationship Id="rId108" Type="http://schemas.openxmlformats.org/officeDocument/2006/relationships/slideLayout" Target="../slideLayouts/slideLayout211.xml"/><Relationship Id="rId129" Type="http://schemas.openxmlformats.org/officeDocument/2006/relationships/slideLayout" Target="../slideLayouts/slideLayout232.xml"/><Relationship Id="rId54" Type="http://schemas.openxmlformats.org/officeDocument/2006/relationships/slideLayout" Target="../slideLayouts/slideLayout157.xml"/><Relationship Id="rId75" Type="http://schemas.openxmlformats.org/officeDocument/2006/relationships/slideLayout" Target="../slideLayouts/slideLayout178.xml"/><Relationship Id="rId96" Type="http://schemas.openxmlformats.org/officeDocument/2006/relationships/slideLayout" Target="../slideLayouts/slideLayout199.xml"/><Relationship Id="rId140" Type="http://schemas.openxmlformats.org/officeDocument/2006/relationships/slideLayout" Target="../slideLayouts/slideLayout243.xml"/><Relationship Id="rId161" Type="http://schemas.openxmlformats.org/officeDocument/2006/relationships/slideLayout" Target="../slideLayouts/slideLayout264.xml"/><Relationship Id="rId182" Type="http://schemas.openxmlformats.org/officeDocument/2006/relationships/slideLayout" Target="../slideLayouts/slideLayout285.xml"/><Relationship Id="rId217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109.xml"/><Relationship Id="rId238" Type="http://schemas.openxmlformats.org/officeDocument/2006/relationships/slideLayout" Target="../slideLayouts/slideLayout341.xml"/><Relationship Id="rId23" Type="http://schemas.openxmlformats.org/officeDocument/2006/relationships/slideLayout" Target="../slideLayouts/slideLayout126.xml"/><Relationship Id="rId119" Type="http://schemas.openxmlformats.org/officeDocument/2006/relationships/slideLayout" Target="../slideLayouts/slideLayout222.xml"/><Relationship Id="rId44" Type="http://schemas.openxmlformats.org/officeDocument/2006/relationships/slideLayout" Target="../slideLayouts/slideLayout147.xml"/><Relationship Id="rId65" Type="http://schemas.openxmlformats.org/officeDocument/2006/relationships/slideLayout" Target="../slideLayouts/slideLayout168.xml"/><Relationship Id="rId86" Type="http://schemas.openxmlformats.org/officeDocument/2006/relationships/slideLayout" Target="../slideLayouts/slideLayout189.xml"/><Relationship Id="rId130" Type="http://schemas.openxmlformats.org/officeDocument/2006/relationships/slideLayout" Target="../slideLayouts/slideLayout233.xml"/><Relationship Id="rId151" Type="http://schemas.openxmlformats.org/officeDocument/2006/relationships/slideLayout" Target="../slideLayouts/slideLayout254.xml"/><Relationship Id="rId172" Type="http://schemas.openxmlformats.org/officeDocument/2006/relationships/slideLayout" Target="../slideLayouts/slideLayout275.xml"/><Relationship Id="rId193" Type="http://schemas.openxmlformats.org/officeDocument/2006/relationships/slideLayout" Target="../slideLayouts/slideLayout296.xml"/><Relationship Id="rId207" Type="http://schemas.openxmlformats.org/officeDocument/2006/relationships/slideLayout" Target="../slideLayouts/slideLayout310.xml"/><Relationship Id="rId228" Type="http://schemas.openxmlformats.org/officeDocument/2006/relationships/slideLayout" Target="../slideLayouts/slideLayout331.xml"/><Relationship Id="rId249" Type="http://schemas.openxmlformats.org/officeDocument/2006/relationships/tags" Target="../tags/tag7.xml"/><Relationship Id="rId13" Type="http://schemas.openxmlformats.org/officeDocument/2006/relationships/slideLayout" Target="../slideLayouts/slideLayout116.xml"/><Relationship Id="rId109" Type="http://schemas.openxmlformats.org/officeDocument/2006/relationships/slideLayout" Target="../slideLayouts/slideLayout212.xml"/><Relationship Id="rId34" Type="http://schemas.openxmlformats.org/officeDocument/2006/relationships/slideLayout" Target="../slideLayouts/slideLayout137.xml"/><Relationship Id="rId55" Type="http://schemas.openxmlformats.org/officeDocument/2006/relationships/slideLayout" Target="../slideLayouts/slideLayout158.xml"/><Relationship Id="rId76" Type="http://schemas.openxmlformats.org/officeDocument/2006/relationships/slideLayout" Target="../slideLayouts/slideLayout179.xml"/><Relationship Id="rId97" Type="http://schemas.openxmlformats.org/officeDocument/2006/relationships/slideLayout" Target="../slideLayouts/slideLayout200.xml"/><Relationship Id="rId120" Type="http://schemas.openxmlformats.org/officeDocument/2006/relationships/slideLayout" Target="../slideLayouts/slideLayout223.xml"/><Relationship Id="rId141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110.xml"/><Relationship Id="rId162" Type="http://schemas.openxmlformats.org/officeDocument/2006/relationships/slideLayout" Target="../slideLayouts/slideLayout265.xml"/><Relationship Id="rId183" Type="http://schemas.openxmlformats.org/officeDocument/2006/relationships/slideLayout" Target="../slideLayouts/slideLayout286.xml"/><Relationship Id="rId218" Type="http://schemas.openxmlformats.org/officeDocument/2006/relationships/slideLayout" Target="../slideLayouts/slideLayout321.xml"/><Relationship Id="rId239" Type="http://schemas.openxmlformats.org/officeDocument/2006/relationships/slideLayout" Target="../slideLayouts/slideLayout342.xml"/><Relationship Id="rId250" Type="http://schemas.openxmlformats.org/officeDocument/2006/relationships/oleObject" Target="../embeddings/oleObject2.bin"/><Relationship Id="rId24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48.xml"/><Relationship Id="rId66" Type="http://schemas.openxmlformats.org/officeDocument/2006/relationships/slideLayout" Target="../slideLayouts/slideLayout169.xml"/><Relationship Id="rId87" Type="http://schemas.openxmlformats.org/officeDocument/2006/relationships/slideLayout" Target="../slideLayouts/slideLayout190.xml"/><Relationship Id="rId110" Type="http://schemas.openxmlformats.org/officeDocument/2006/relationships/slideLayout" Target="../slideLayouts/slideLayout213.xml"/><Relationship Id="rId131" Type="http://schemas.openxmlformats.org/officeDocument/2006/relationships/slideLayout" Target="../slideLayouts/slideLayout234.xml"/><Relationship Id="rId152" Type="http://schemas.openxmlformats.org/officeDocument/2006/relationships/slideLayout" Target="../slideLayouts/slideLayout255.xml"/><Relationship Id="rId173" Type="http://schemas.openxmlformats.org/officeDocument/2006/relationships/slideLayout" Target="../slideLayouts/slideLayout276.xml"/><Relationship Id="rId194" Type="http://schemas.openxmlformats.org/officeDocument/2006/relationships/slideLayout" Target="../slideLayouts/slideLayout297.xml"/><Relationship Id="rId208" Type="http://schemas.openxmlformats.org/officeDocument/2006/relationships/slideLayout" Target="../slideLayouts/slideLayout311.xml"/><Relationship Id="rId229" Type="http://schemas.openxmlformats.org/officeDocument/2006/relationships/slideLayout" Target="../slideLayouts/slideLayout332.xml"/><Relationship Id="rId240" Type="http://schemas.openxmlformats.org/officeDocument/2006/relationships/slideLayout" Target="../slideLayouts/slideLayout343.xml"/><Relationship Id="rId14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38.xml"/><Relationship Id="rId56" Type="http://schemas.openxmlformats.org/officeDocument/2006/relationships/slideLayout" Target="../slideLayouts/slideLayout159.xml"/><Relationship Id="rId77" Type="http://schemas.openxmlformats.org/officeDocument/2006/relationships/slideLayout" Target="../slideLayouts/slideLayout180.xml"/><Relationship Id="rId100" Type="http://schemas.openxmlformats.org/officeDocument/2006/relationships/slideLayout" Target="../slideLayouts/slideLayout203.xml"/><Relationship Id="rId8" Type="http://schemas.openxmlformats.org/officeDocument/2006/relationships/slideLayout" Target="../slideLayouts/slideLayout111.xml"/><Relationship Id="rId98" Type="http://schemas.openxmlformats.org/officeDocument/2006/relationships/slideLayout" Target="../slideLayouts/slideLayout201.xml"/><Relationship Id="rId121" Type="http://schemas.openxmlformats.org/officeDocument/2006/relationships/slideLayout" Target="../slideLayouts/slideLayout224.xml"/><Relationship Id="rId142" Type="http://schemas.openxmlformats.org/officeDocument/2006/relationships/slideLayout" Target="../slideLayouts/slideLayout245.xml"/><Relationship Id="rId163" Type="http://schemas.openxmlformats.org/officeDocument/2006/relationships/slideLayout" Target="../slideLayouts/slideLayout266.xml"/><Relationship Id="rId184" Type="http://schemas.openxmlformats.org/officeDocument/2006/relationships/slideLayout" Target="../slideLayouts/slideLayout287.xml"/><Relationship Id="rId219" Type="http://schemas.openxmlformats.org/officeDocument/2006/relationships/slideLayout" Target="../slideLayouts/slideLayout322.xml"/><Relationship Id="rId230" Type="http://schemas.openxmlformats.org/officeDocument/2006/relationships/slideLayout" Target="../slideLayouts/slideLayout333.xml"/><Relationship Id="rId251" Type="http://schemas.openxmlformats.org/officeDocument/2006/relationships/image" Target="../media/image3.emf"/><Relationship Id="rId25" Type="http://schemas.openxmlformats.org/officeDocument/2006/relationships/slideLayout" Target="../slideLayouts/slideLayout128.xml"/><Relationship Id="rId46" Type="http://schemas.openxmlformats.org/officeDocument/2006/relationships/slideLayout" Target="../slideLayouts/slideLayout149.xml"/><Relationship Id="rId67" Type="http://schemas.openxmlformats.org/officeDocument/2006/relationships/slideLayout" Target="../slideLayouts/slideLayout170.xml"/><Relationship Id="rId88" Type="http://schemas.openxmlformats.org/officeDocument/2006/relationships/slideLayout" Target="../slideLayouts/slideLayout191.xml"/><Relationship Id="rId111" Type="http://schemas.openxmlformats.org/officeDocument/2006/relationships/slideLayout" Target="../slideLayouts/slideLayout214.xml"/><Relationship Id="rId132" Type="http://schemas.openxmlformats.org/officeDocument/2006/relationships/slideLayout" Target="../slideLayouts/slideLayout235.xml"/><Relationship Id="rId153" Type="http://schemas.openxmlformats.org/officeDocument/2006/relationships/slideLayout" Target="../slideLayouts/slideLayout256.xml"/><Relationship Id="rId174" Type="http://schemas.openxmlformats.org/officeDocument/2006/relationships/slideLayout" Target="../slideLayouts/slideLayout277.xml"/><Relationship Id="rId195" Type="http://schemas.openxmlformats.org/officeDocument/2006/relationships/slideLayout" Target="../slideLayouts/slideLayout298.xml"/><Relationship Id="rId209" Type="http://schemas.openxmlformats.org/officeDocument/2006/relationships/slideLayout" Target="../slideLayouts/slideLayout312.xml"/><Relationship Id="rId220" Type="http://schemas.openxmlformats.org/officeDocument/2006/relationships/slideLayout" Target="../slideLayouts/slideLayout323.xml"/><Relationship Id="rId241" Type="http://schemas.openxmlformats.org/officeDocument/2006/relationships/slideLayout" Target="../slideLayouts/slideLayout344.xml"/><Relationship Id="rId15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39.xml"/><Relationship Id="rId57" Type="http://schemas.openxmlformats.org/officeDocument/2006/relationships/slideLayout" Target="../slideLayouts/slideLayout160.xml"/><Relationship Id="rId78" Type="http://schemas.openxmlformats.org/officeDocument/2006/relationships/slideLayout" Target="../slideLayouts/slideLayout181.xml"/><Relationship Id="rId99" Type="http://schemas.openxmlformats.org/officeDocument/2006/relationships/slideLayout" Target="../slideLayouts/slideLayout202.xml"/><Relationship Id="rId101" Type="http://schemas.openxmlformats.org/officeDocument/2006/relationships/slideLayout" Target="../slideLayouts/slideLayout204.xml"/><Relationship Id="rId122" Type="http://schemas.openxmlformats.org/officeDocument/2006/relationships/slideLayout" Target="../slideLayouts/slideLayout225.xml"/><Relationship Id="rId143" Type="http://schemas.openxmlformats.org/officeDocument/2006/relationships/slideLayout" Target="../slideLayouts/slideLayout246.xml"/><Relationship Id="rId164" Type="http://schemas.openxmlformats.org/officeDocument/2006/relationships/slideLayout" Target="../slideLayouts/slideLayout267.xml"/><Relationship Id="rId185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112.xml"/><Relationship Id="rId210" Type="http://schemas.openxmlformats.org/officeDocument/2006/relationships/slideLayout" Target="../slideLayouts/slideLayout313.xml"/><Relationship Id="rId26" Type="http://schemas.openxmlformats.org/officeDocument/2006/relationships/slideLayout" Target="../slideLayouts/slideLayout129.xml"/><Relationship Id="rId231" Type="http://schemas.openxmlformats.org/officeDocument/2006/relationships/slideLayout" Target="../slideLayouts/slideLayout334.xml"/><Relationship Id="rId252" Type="http://schemas.openxmlformats.org/officeDocument/2006/relationships/image" Target="../media/image4.png"/><Relationship Id="rId47" Type="http://schemas.openxmlformats.org/officeDocument/2006/relationships/slideLayout" Target="../slideLayouts/slideLayout150.xml"/><Relationship Id="rId68" Type="http://schemas.openxmlformats.org/officeDocument/2006/relationships/slideLayout" Target="../slideLayouts/slideLayout171.xml"/><Relationship Id="rId89" Type="http://schemas.openxmlformats.org/officeDocument/2006/relationships/slideLayout" Target="../slideLayouts/slideLayout192.xml"/><Relationship Id="rId112" Type="http://schemas.openxmlformats.org/officeDocument/2006/relationships/slideLayout" Target="../slideLayouts/slideLayout215.xml"/><Relationship Id="rId133" Type="http://schemas.openxmlformats.org/officeDocument/2006/relationships/slideLayout" Target="../slideLayouts/slideLayout236.xml"/><Relationship Id="rId154" Type="http://schemas.openxmlformats.org/officeDocument/2006/relationships/slideLayout" Target="../slideLayouts/slideLayout257.xml"/><Relationship Id="rId175" Type="http://schemas.openxmlformats.org/officeDocument/2006/relationships/slideLayout" Target="../slideLayouts/slideLayout278.xml"/><Relationship Id="rId196" Type="http://schemas.openxmlformats.org/officeDocument/2006/relationships/slideLayout" Target="../slideLayouts/slideLayout299.xml"/><Relationship Id="rId200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119.xml"/><Relationship Id="rId221" Type="http://schemas.openxmlformats.org/officeDocument/2006/relationships/slideLayout" Target="../slideLayouts/slideLayout324.xml"/><Relationship Id="rId242" Type="http://schemas.openxmlformats.org/officeDocument/2006/relationships/slideLayout" Target="../slideLayouts/slideLayout345.xml"/><Relationship Id="rId37" Type="http://schemas.openxmlformats.org/officeDocument/2006/relationships/slideLayout" Target="../slideLayouts/slideLayout140.xml"/><Relationship Id="rId58" Type="http://schemas.openxmlformats.org/officeDocument/2006/relationships/slideLayout" Target="../slideLayouts/slideLayout161.xml"/><Relationship Id="rId79" Type="http://schemas.openxmlformats.org/officeDocument/2006/relationships/slideLayout" Target="../slideLayouts/slideLayout182.xml"/><Relationship Id="rId102" Type="http://schemas.openxmlformats.org/officeDocument/2006/relationships/slideLayout" Target="../slideLayouts/slideLayout205.xml"/><Relationship Id="rId123" Type="http://schemas.openxmlformats.org/officeDocument/2006/relationships/slideLayout" Target="../slideLayouts/slideLayout226.xml"/><Relationship Id="rId144" Type="http://schemas.openxmlformats.org/officeDocument/2006/relationships/slideLayout" Target="../slideLayouts/slideLayout247.xml"/><Relationship Id="rId90" Type="http://schemas.openxmlformats.org/officeDocument/2006/relationships/slideLayout" Target="../slideLayouts/slideLayout193.xml"/><Relationship Id="rId165" Type="http://schemas.openxmlformats.org/officeDocument/2006/relationships/slideLayout" Target="../slideLayouts/slideLayout268.xml"/><Relationship Id="rId186" Type="http://schemas.openxmlformats.org/officeDocument/2006/relationships/slideLayout" Target="../slideLayouts/slideLayout289.xml"/><Relationship Id="rId211" Type="http://schemas.openxmlformats.org/officeDocument/2006/relationships/slideLayout" Target="../slideLayouts/slideLayout314.xml"/><Relationship Id="rId232" Type="http://schemas.openxmlformats.org/officeDocument/2006/relationships/slideLayout" Target="../slideLayouts/slideLayout335.xml"/><Relationship Id="rId253" Type="http://schemas.openxmlformats.org/officeDocument/2006/relationships/image" Target="../media/image5.emf"/><Relationship Id="rId27" Type="http://schemas.openxmlformats.org/officeDocument/2006/relationships/slideLayout" Target="../slideLayouts/slideLayout130.xml"/><Relationship Id="rId48" Type="http://schemas.openxmlformats.org/officeDocument/2006/relationships/slideLayout" Target="../slideLayouts/slideLayout151.xml"/><Relationship Id="rId69" Type="http://schemas.openxmlformats.org/officeDocument/2006/relationships/slideLayout" Target="../slideLayouts/slideLayout172.xml"/><Relationship Id="rId113" Type="http://schemas.openxmlformats.org/officeDocument/2006/relationships/slideLayout" Target="../slideLayouts/slideLayout216.xml"/><Relationship Id="rId134" Type="http://schemas.openxmlformats.org/officeDocument/2006/relationships/slideLayout" Target="../slideLayouts/slideLayout237.xml"/><Relationship Id="rId80" Type="http://schemas.openxmlformats.org/officeDocument/2006/relationships/slideLayout" Target="../slideLayouts/slideLayout183.xml"/><Relationship Id="rId155" Type="http://schemas.openxmlformats.org/officeDocument/2006/relationships/slideLayout" Target="../slideLayouts/slideLayout258.xml"/><Relationship Id="rId176" Type="http://schemas.openxmlformats.org/officeDocument/2006/relationships/slideLayout" Target="../slideLayouts/slideLayout279.xml"/><Relationship Id="rId197" Type="http://schemas.openxmlformats.org/officeDocument/2006/relationships/slideLayout" Target="../slideLayouts/slideLayout300.xml"/><Relationship Id="rId201" Type="http://schemas.openxmlformats.org/officeDocument/2006/relationships/slideLayout" Target="../slideLayouts/slideLayout304.xml"/><Relationship Id="rId222" Type="http://schemas.openxmlformats.org/officeDocument/2006/relationships/slideLayout" Target="../slideLayouts/slideLayout325.xml"/><Relationship Id="rId243" Type="http://schemas.openxmlformats.org/officeDocument/2006/relationships/slideLayout" Target="../slideLayouts/slideLayout346.xml"/><Relationship Id="rId17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41.xml"/><Relationship Id="rId59" Type="http://schemas.openxmlformats.org/officeDocument/2006/relationships/slideLayout" Target="../slideLayouts/slideLayout162.xml"/><Relationship Id="rId103" Type="http://schemas.openxmlformats.org/officeDocument/2006/relationships/slideLayout" Target="../slideLayouts/slideLayout206.xml"/><Relationship Id="rId124" Type="http://schemas.openxmlformats.org/officeDocument/2006/relationships/slideLayout" Target="../slideLayouts/slideLayout227.xml"/><Relationship Id="rId70" Type="http://schemas.openxmlformats.org/officeDocument/2006/relationships/slideLayout" Target="../slideLayouts/slideLayout173.xml"/><Relationship Id="rId91" Type="http://schemas.openxmlformats.org/officeDocument/2006/relationships/slideLayout" Target="../slideLayouts/slideLayout194.xml"/><Relationship Id="rId145" Type="http://schemas.openxmlformats.org/officeDocument/2006/relationships/slideLayout" Target="../slideLayouts/slideLayout248.xml"/><Relationship Id="rId166" Type="http://schemas.openxmlformats.org/officeDocument/2006/relationships/slideLayout" Target="../slideLayouts/slideLayout269.xml"/><Relationship Id="rId187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104.xml"/><Relationship Id="rId212" Type="http://schemas.openxmlformats.org/officeDocument/2006/relationships/slideLayout" Target="../slideLayouts/slideLayout315.xml"/><Relationship Id="rId233" Type="http://schemas.openxmlformats.org/officeDocument/2006/relationships/slideLayout" Target="../slideLayouts/slideLayout336.xml"/><Relationship Id="rId28" Type="http://schemas.openxmlformats.org/officeDocument/2006/relationships/slideLayout" Target="../slideLayouts/slideLayout131.xml"/><Relationship Id="rId49" Type="http://schemas.openxmlformats.org/officeDocument/2006/relationships/slideLayout" Target="../slideLayouts/slideLayout152.xml"/><Relationship Id="rId114" Type="http://schemas.openxmlformats.org/officeDocument/2006/relationships/slideLayout" Target="../slideLayouts/slideLayout217.xml"/><Relationship Id="rId60" Type="http://schemas.openxmlformats.org/officeDocument/2006/relationships/slideLayout" Target="../slideLayouts/slideLayout163.xml"/><Relationship Id="rId81" Type="http://schemas.openxmlformats.org/officeDocument/2006/relationships/slideLayout" Target="../slideLayouts/slideLayout184.xml"/><Relationship Id="rId135" Type="http://schemas.openxmlformats.org/officeDocument/2006/relationships/slideLayout" Target="../slideLayouts/slideLayout238.xml"/><Relationship Id="rId156" Type="http://schemas.openxmlformats.org/officeDocument/2006/relationships/slideLayout" Target="../slideLayouts/slideLayout259.xml"/><Relationship Id="rId177" Type="http://schemas.openxmlformats.org/officeDocument/2006/relationships/slideLayout" Target="../slideLayouts/slideLayout280.xml"/><Relationship Id="rId198" Type="http://schemas.openxmlformats.org/officeDocument/2006/relationships/slideLayout" Target="../slideLayouts/slideLayout301.xml"/><Relationship Id="rId202" Type="http://schemas.openxmlformats.org/officeDocument/2006/relationships/slideLayout" Target="../slideLayouts/slideLayout305.xml"/><Relationship Id="rId223" Type="http://schemas.openxmlformats.org/officeDocument/2006/relationships/slideLayout" Target="../slideLayouts/slideLayout326.xml"/><Relationship Id="rId244" Type="http://schemas.openxmlformats.org/officeDocument/2006/relationships/slideLayout" Target="../slideLayouts/slideLayout347.xml"/><Relationship Id="rId18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42.xml"/><Relationship Id="rId50" Type="http://schemas.openxmlformats.org/officeDocument/2006/relationships/slideLayout" Target="../slideLayouts/slideLayout153.xml"/><Relationship Id="rId104" Type="http://schemas.openxmlformats.org/officeDocument/2006/relationships/slideLayout" Target="../slideLayouts/slideLayout207.xml"/><Relationship Id="rId125" Type="http://schemas.openxmlformats.org/officeDocument/2006/relationships/slideLayout" Target="../slideLayouts/slideLayout228.xml"/><Relationship Id="rId146" Type="http://schemas.openxmlformats.org/officeDocument/2006/relationships/slideLayout" Target="../slideLayouts/slideLayout249.xml"/><Relationship Id="rId167" Type="http://schemas.openxmlformats.org/officeDocument/2006/relationships/slideLayout" Target="../slideLayouts/slideLayout270.xml"/><Relationship Id="rId188" Type="http://schemas.openxmlformats.org/officeDocument/2006/relationships/slideLayout" Target="../slideLayouts/slideLayout291.xml"/><Relationship Id="rId71" Type="http://schemas.openxmlformats.org/officeDocument/2006/relationships/slideLayout" Target="../slideLayouts/slideLayout174.xml"/><Relationship Id="rId92" Type="http://schemas.openxmlformats.org/officeDocument/2006/relationships/slideLayout" Target="../slideLayouts/slideLayout195.xml"/><Relationship Id="rId213" Type="http://schemas.openxmlformats.org/officeDocument/2006/relationships/slideLayout" Target="../slideLayouts/slideLayout316.xml"/><Relationship Id="rId234" Type="http://schemas.openxmlformats.org/officeDocument/2006/relationships/slideLayout" Target="../slideLayouts/slideLayout337.xml"/><Relationship Id="rId2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43.xml"/><Relationship Id="rId115" Type="http://schemas.openxmlformats.org/officeDocument/2006/relationships/slideLayout" Target="../slideLayouts/slideLayout218.xml"/><Relationship Id="rId136" Type="http://schemas.openxmlformats.org/officeDocument/2006/relationships/slideLayout" Target="../slideLayouts/slideLayout239.xml"/><Relationship Id="rId157" Type="http://schemas.openxmlformats.org/officeDocument/2006/relationships/slideLayout" Target="../slideLayouts/slideLayout260.xml"/><Relationship Id="rId178" Type="http://schemas.openxmlformats.org/officeDocument/2006/relationships/slideLayout" Target="../slideLayouts/slideLayout281.xml"/><Relationship Id="rId61" Type="http://schemas.openxmlformats.org/officeDocument/2006/relationships/slideLayout" Target="../slideLayouts/slideLayout164.xml"/><Relationship Id="rId82" Type="http://schemas.openxmlformats.org/officeDocument/2006/relationships/slideLayout" Target="../slideLayouts/slideLayout185.xml"/><Relationship Id="rId199" Type="http://schemas.openxmlformats.org/officeDocument/2006/relationships/slideLayout" Target="../slideLayouts/slideLayout302.xml"/><Relationship Id="rId203" Type="http://schemas.openxmlformats.org/officeDocument/2006/relationships/slideLayout" Target="../slideLayouts/slideLayout306.xml"/><Relationship Id="rId19" Type="http://schemas.openxmlformats.org/officeDocument/2006/relationships/slideLayout" Target="../slideLayouts/slideLayout122.xml"/><Relationship Id="rId224" Type="http://schemas.openxmlformats.org/officeDocument/2006/relationships/slideLayout" Target="../slideLayouts/slideLayout327.xml"/><Relationship Id="rId245" Type="http://schemas.openxmlformats.org/officeDocument/2006/relationships/slideLayout" Target="../slideLayouts/slideLayout348.xml"/><Relationship Id="rId30" Type="http://schemas.openxmlformats.org/officeDocument/2006/relationships/slideLayout" Target="../slideLayouts/slideLayout133.xml"/><Relationship Id="rId105" Type="http://schemas.openxmlformats.org/officeDocument/2006/relationships/slideLayout" Target="../slideLayouts/slideLayout208.xml"/><Relationship Id="rId126" Type="http://schemas.openxmlformats.org/officeDocument/2006/relationships/slideLayout" Target="../slideLayouts/slideLayout229.xml"/><Relationship Id="rId147" Type="http://schemas.openxmlformats.org/officeDocument/2006/relationships/slideLayout" Target="../slideLayouts/slideLayout250.xml"/><Relationship Id="rId168" Type="http://schemas.openxmlformats.org/officeDocument/2006/relationships/slideLayout" Target="../slideLayouts/slideLayout271.xml"/><Relationship Id="rId51" Type="http://schemas.openxmlformats.org/officeDocument/2006/relationships/slideLayout" Target="../slideLayouts/slideLayout154.xml"/><Relationship Id="rId72" Type="http://schemas.openxmlformats.org/officeDocument/2006/relationships/slideLayout" Target="../slideLayouts/slideLayout175.xml"/><Relationship Id="rId93" Type="http://schemas.openxmlformats.org/officeDocument/2006/relationships/slideLayout" Target="../slideLayouts/slideLayout196.xml"/><Relationship Id="rId189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106.xml"/><Relationship Id="rId214" Type="http://schemas.openxmlformats.org/officeDocument/2006/relationships/slideLayout" Target="../slideLayouts/slideLayout317.xml"/><Relationship Id="rId235" Type="http://schemas.openxmlformats.org/officeDocument/2006/relationships/slideLayout" Target="../slideLayouts/slideLayout338.xml"/><Relationship Id="rId116" Type="http://schemas.openxmlformats.org/officeDocument/2006/relationships/slideLayout" Target="../slideLayouts/slideLayout219.xml"/><Relationship Id="rId137" Type="http://schemas.openxmlformats.org/officeDocument/2006/relationships/slideLayout" Target="../slideLayouts/slideLayout240.xml"/><Relationship Id="rId158" Type="http://schemas.openxmlformats.org/officeDocument/2006/relationships/slideLayout" Target="../slideLayouts/slideLayout261.xml"/><Relationship Id="rId20" Type="http://schemas.openxmlformats.org/officeDocument/2006/relationships/slideLayout" Target="../slideLayouts/slideLayout123.xml"/><Relationship Id="rId41" Type="http://schemas.openxmlformats.org/officeDocument/2006/relationships/slideLayout" Target="../slideLayouts/slideLayout144.xml"/><Relationship Id="rId62" Type="http://schemas.openxmlformats.org/officeDocument/2006/relationships/slideLayout" Target="../slideLayouts/slideLayout165.xml"/><Relationship Id="rId83" Type="http://schemas.openxmlformats.org/officeDocument/2006/relationships/slideLayout" Target="../slideLayouts/slideLayout186.xml"/><Relationship Id="rId179" Type="http://schemas.openxmlformats.org/officeDocument/2006/relationships/slideLayout" Target="../slideLayouts/slideLayout282.xml"/><Relationship Id="rId190" Type="http://schemas.openxmlformats.org/officeDocument/2006/relationships/slideLayout" Target="../slideLayouts/slideLayout293.xml"/><Relationship Id="rId204" Type="http://schemas.openxmlformats.org/officeDocument/2006/relationships/slideLayout" Target="../slideLayouts/slideLayout307.xml"/><Relationship Id="rId225" Type="http://schemas.openxmlformats.org/officeDocument/2006/relationships/slideLayout" Target="../slideLayouts/slideLayout328.xml"/><Relationship Id="rId246" Type="http://schemas.openxmlformats.org/officeDocument/2006/relationships/slideLayout" Target="../slideLayouts/slideLayout349.xml"/><Relationship Id="rId106" Type="http://schemas.openxmlformats.org/officeDocument/2006/relationships/slideLayout" Target="../slideLayouts/slideLayout209.xml"/><Relationship Id="rId127" Type="http://schemas.openxmlformats.org/officeDocument/2006/relationships/slideLayout" Target="../slideLayouts/slideLayout230.xml"/><Relationship Id="rId10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34.xml"/><Relationship Id="rId52" Type="http://schemas.openxmlformats.org/officeDocument/2006/relationships/slideLayout" Target="../slideLayouts/slideLayout155.xml"/><Relationship Id="rId73" Type="http://schemas.openxmlformats.org/officeDocument/2006/relationships/slideLayout" Target="../slideLayouts/slideLayout176.xml"/><Relationship Id="rId94" Type="http://schemas.openxmlformats.org/officeDocument/2006/relationships/slideLayout" Target="../slideLayouts/slideLayout197.xml"/><Relationship Id="rId148" Type="http://schemas.openxmlformats.org/officeDocument/2006/relationships/slideLayout" Target="../slideLayouts/slideLayout251.xml"/><Relationship Id="rId169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107.xml"/><Relationship Id="rId180" Type="http://schemas.openxmlformats.org/officeDocument/2006/relationships/slideLayout" Target="../slideLayouts/slideLayout283.xml"/><Relationship Id="rId215" Type="http://schemas.openxmlformats.org/officeDocument/2006/relationships/slideLayout" Target="../slideLayouts/slideLayout318.xml"/><Relationship Id="rId236" Type="http://schemas.openxmlformats.org/officeDocument/2006/relationships/slideLayout" Target="../slideLayouts/slideLayout3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0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6.xml"/><Relationship Id="rId21" Type="http://schemas.openxmlformats.org/officeDocument/2006/relationships/slideLayout" Target="../slideLayouts/slideLayout381.xml"/><Relationship Id="rId42" Type="http://schemas.openxmlformats.org/officeDocument/2006/relationships/slideLayout" Target="../slideLayouts/slideLayout402.xml"/><Relationship Id="rId47" Type="http://schemas.openxmlformats.org/officeDocument/2006/relationships/slideLayout" Target="../slideLayouts/slideLayout407.xml"/><Relationship Id="rId63" Type="http://schemas.openxmlformats.org/officeDocument/2006/relationships/slideLayout" Target="../slideLayouts/slideLayout423.xml"/><Relationship Id="rId68" Type="http://schemas.openxmlformats.org/officeDocument/2006/relationships/slideLayout" Target="../slideLayouts/slideLayout428.xml"/><Relationship Id="rId84" Type="http://schemas.openxmlformats.org/officeDocument/2006/relationships/slideLayout" Target="../slideLayouts/slideLayout444.xml"/><Relationship Id="rId89" Type="http://schemas.openxmlformats.org/officeDocument/2006/relationships/slideLayout" Target="../slideLayouts/slideLayout449.xml"/><Relationship Id="rId16" Type="http://schemas.openxmlformats.org/officeDocument/2006/relationships/slideLayout" Target="../slideLayouts/slideLayout376.xml"/><Relationship Id="rId11" Type="http://schemas.openxmlformats.org/officeDocument/2006/relationships/slideLayout" Target="../slideLayouts/slideLayout371.xml"/><Relationship Id="rId32" Type="http://schemas.openxmlformats.org/officeDocument/2006/relationships/slideLayout" Target="../slideLayouts/slideLayout392.xml"/><Relationship Id="rId37" Type="http://schemas.openxmlformats.org/officeDocument/2006/relationships/slideLayout" Target="../slideLayouts/slideLayout397.xml"/><Relationship Id="rId53" Type="http://schemas.openxmlformats.org/officeDocument/2006/relationships/slideLayout" Target="../slideLayouts/slideLayout413.xml"/><Relationship Id="rId58" Type="http://schemas.openxmlformats.org/officeDocument/2006/relationships/slideLayout" Target="../slideLayouts/slideLayout418.xml"/><Relationship Id="rId74" Type="http://schemas.openxmlformats.org/officeDocument/2006/relationships/slideLayout" Target="../slideLayouts/slideLayout434.xml"/><Relationship Id="rId79" Type="http://schemas.openxmlformats.org/officeDocument/2006/relationships/slideLayout" Target="../slideLayouts/slideLayout439.xml"/><Relationship Id="rId5" Type="http://schemas.openxmlformats.org/officeDocument/2006/relationships/slideLayout" Target="../slideLayouts/slideLayout365.xml"/><Relationship Id="rId90" Type="http://schemas.openxmlformats.org/officeDocument/2006/relationships/slideLayout" Target="../slideLayouts/slideLayout450.xml"/><Relationship Id="rId95" Type="http://schemas.openxmlformats.org/officeDocument/2006/relationships/tags" Target="../tags/tag418.xml"/><Relationship Id="rId22" Type="http://schemas.openxmlformats.org/officeDocument/2006/relationships/slideLayout" Target="../slideLayouts/slideLayout382.xml"/><Relationship Id="rId27" Type="http://schemas.openxmlformats.org/officeDocument/2006/relationships/slideLayout" Target="../slideLayouts/slideLayout387.xml"/><Relationship Id="rId43" Type="http://schemas.openxmlformats.org/officeDocument/2006/relationships/slideLayout" Target="../slideLayouts/slideLayout403.xml"/><Relationship Id="rId48" Type="http://schemas.openxmlformats.org/officeDocument/2006/relationships/slideLayout" Target="../slideLayouts/slideLayout408.xml"/><Relationship Id="rId64" Type="http://schemas.openxmlformats.org/officeDocument/2006/relationships/slideLayout" Target="../slideLayouts/slideLayout424.xml"/><Relationship Id="rId69" Type="http://schemas.openxmlformats.org/officeDocument/2006/relationships/slideLayout" Target="../slideLayouts/slideLayout429.xml"/><Relationship Id="rId80" Type="http://schemas.openxmlformats.org/officeDocument/2006/relationships/slideLayout" Target="../slideLayouts/slideLayout440.xml"/><Relationship Id="rId85" Type="http://schemas.openxmlformats.org/officeDocument/2006/relationships/slideLayout" Target="../slideLayouts/slideLayout445.xml"/><Relationship Id="rId3" Type="http://schemas.openxmlformats.org/officeDocument/2006/relationships/slideLayout" Target="../slideLayouts/slideLayout363.xml"/><Relationship Id="rId12" Type="http://schemas.openxmlformats.org/officeDocument/2006/relationships/slideLayout" Target="../slideLayouts/slideLayout372.xml"/><Relationship Id="rId17" Type="http://schemas.openxmlformats.org/officeDocument/2006/relationships/slideLayout" Target="../slideLayouts/slideLayout377.xml"/><Relationship Id="rId25" Type="http://schemas.openxmlformats.org/officeDocument/2006/relationships/slideLayout" Target="../slideLayouts/slideLayout385.xml"/><Relationship Id="rId33" Type="http://schemas.openxmlformats.org/officeDocument/2006/relationships/slideLayout" Target="../slideLayouts/slideLayout393.xml"/><Relationship Id="rId38" Type="http://schemas.openxmlformats.org/officeDocument/2006/relationships/slideLayout" Target="../slideLayouts/slideLayout398.xml"/><Relationship Id="rId46" Type="http://schemas.openxmlformats.org/officeDocument/2006/relationships/slideLayout" Target="../slideLayouts/slideLayout406.xml"/><Relationship Id="rId59" Type="http://schemas.openxmlformats.org/officeDocument/2006/relationships/slideLayout" Target="../slideLayouts/slideLayout419.xml"/><Relationship Id="rId67" Type="http://schemas.openxmlformats.org/officeDocument/2006/relationships/slideLayout" Target="../slideLayouts/slideLayout427.xml"/><Relationship Id="rId20" Type="http://schemas.openxmlformats.org/officeDocument/2006/relationships/slideLayout" Target="../slideLayouts/slideLayout380.xml"/><Relationship Id="rId41" Type="http://schemas.openxmlformats.org/officeDocument/2006/relationships/slideLayout" Target="../slideLayouts/slideLayout401.xml"/><Relationship Id="rId54" Type="http://schemas.openxmlformats.org/officeDocument/2006/relationships/slideLayout" Target="../slideLayouts/slideLayout414.xml"/><Relationship Id="rId62" Type="http://schemas.openxmlformats.org/officeDocument/2006/relationships/slideLayout" Target="../slideLayouts/slideLayout422.xml"/><Relationship Id="rId70" Type="http://schemas.openxmlformats.org/officeDocument/2006/relationships/slideLayout" Target="../slideLayouts/slideLayout430.xml"/><Relationship Id="rId75" Type="http://schemas.openxmlformats.org/officeDocument/2006/relationships/slideLayout" Target="../slideLayouts/slideLayout435.xml"/><Relationship Id="rId83" Type="http://schemas.openxmlformats.org/officeDocument/2006/relationships/slideLayout" Target="../slideLayouts/slideLayout443.xml"/><Relationship Id="rId88" Type="http://schemas.openxmlformats.org/officeDocument/2006/relationships/slideLayout" Target="../slideLayouts/slideLayout448.xml"/><Relationship Id="rId91" Type="http://schemas.openxmlformats.org/officeDocument/2006/relationships/slideLayout" Target="../slideLayouts/slideLayout451.xml"/><Relationship Id="rId96" Type="http://schemas.openxmlformats.org/officeDocument/2006/relationships/tags" Target="../tags/tag419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5.xml"/><Relationship Id="rId23" Type="http://schemas.openxmlformats.org/officeDocument/2006/relationships/slideLayout" Target="../slideLayouts/slideLayout383.xml"/><Relationship Id="rId28" Type="http://schemas.openxmlformats.org/officeDocument/2006/relationships/slideLayout" Target="../slideLayouts/slideLayout388.xml"/><Relationship Id="rId36" Type="http://schemas.openxmlformats.org/officeDocument/2006/relationships/slideLayout" Target="../slideLayouts/slideLayout396.xml"/><Relationship Id="rId49" Type="http://schemas.openxmlformats.org/officeDocument/2006/relationships/slideLayout" Target="../slideLayouts/slideLayout409.xml"/><Relationship Id="rId57" Type="http://schemas.openxmlformats.org/officeDocument/2006/relationships/slideLayout" Target="../slideLayouts/slideLayout417.xml"/><Relationship Id="rId10" Type="http://schemas.openxmlformats.org/officeDocument/2006/relationships/slideLayout" Target="../slideLayouts/slideLayout370.xml"/><Relationship Id="rId31" Type="http://schemas.openxmlformats.org/officeDocument/2006/relationships/slideLayout" Target="../slideLayouts/slideLayout391.xml"/><Relationship Id="rId44" Type="http://schemas.openxmlformats.org/officeDocument/2006/relationships/slideLayout" Target="../slideLayouts/slideLayout404.xml"/><Relationship Id="rId52" Type="http://schemas.openxmlformats.org/officeDocument/2006/relationships/slideLayout" Target="../slideLayouts/slideLayout412.xml"/><Relationship Id="rId60" Type="http://schemas.openxmlformats.org/officeDocument/2006/relationships/slideLayout" Target="../slideLayouts/slideLayout420.xml"/><Relationship Id="rId65" Type="http://schemas.openxmlformats.org/officeDocument/2006/relationships/slideLayout" Target="../slideLayouts/slideLayout425.xml"/><Relationship Id="rId73" Type="http://schemas.openxmlformats.org/officeDocument/2006/relationships/slideLayout" Target="../slideLayouts/slideLayout433.xml"/><Relationship Id="rId78" Type="http://schemas.openxmlformats.org/officeDocument/2006/relationships/slideLayout" Target="../slideLayouts/slideLayout438.xml"/><Relationship Id="rId81" Type="http://schemas.openxmlformats.org/officeDocument/2006/relationships/slideLayout" Target="../slideLayouts/slideLayout441.xml"/><Relationship Id="rId86" Type="http://schemas.openxmlformats.org/officeDocument/2006/relationships/slideLayout" Target="../slideLayouts/slideLayout446.xml"/><Relationship Id="rId94" Type="http://schemas.openxmlformats.org/officeDocument/2006/relationships/theme" Target="../theme/theme6.xml"/><Relationship Id="rId99" Type="http://schemas.openxmlformats.org/officeDocument/2006/relationships/image" Target="../media/image21.png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3.xml"/><Relationship Id="rId18" Type="http://schemas.openxmlformats.org/officeDocument/2006/relationships/slideLayout" Target="../slideLayouts/slideLayout378.xml"/><Relationship Id="rId39" Type="http://schemas.openxmlformats.org/officeDocument/2006/relationships/slideLayout" Target="../slideLayouts/slideLayout399.xml"/><Relationship Id="rId34" Type="http://schemas.openxmlformats.org/officeDocument/2006/relationships/slideLayout" Target="../slideLayouts/slideLayout394.xml"/><Relationship Id="rId50" Type="http://schemas.openxmlformats.org/officeDocument/2006/relationships/slideLayout" Target="../slideLayouts/slideLayout410.xml"/><Relationship Id="rId55" Type="http://schemas.openxmlformats.org/officeDocument/2006/relationships/slideLayout" Target="../slideLayouts/slideLayout415.xml"/><Relationship Id="rId76" Type="http://schemas.openxmlformats.org/officeDocument/2006/relationships/slideLayout" Target="../slideLayouts/slideLayout436.xml"/><Relationship Id="rId97" Type="http://schemas.openxmlformats.org/officeDocument/2006/relationships/oleObject" Target="../embeddings/oleObject24.bin"/><Relationship Id="rId7" Type="http://schemas.openxmlformats.org/officeDocument/2006/relationships/slideLayout" Target="../slideLayouts/slideLayout367.xml"/><Relationship Id="rId71" Type="http://schemas.openxmlformats.org/officeDocument/2006/relationships/slideLayout" Target="../slideLayouts/slideLayout431.xml"/><Relationship Id="rId92" Type="http://schemas.openxmlformats.org/officeDocument/2006/relationships/slideLayout" Target="../slideLayouts/slideLayout452.xml"/><Relationship Id="rId2" Type="http://schemas.openxmlformats.org/officeDocument/2006/relationships/slideLayout" Target="../slideLayouts/slideLayout362.xml"/><Relationship Id="rId29" Type="http://schemas.openxmlformats.org/officeDocument/2006/relationships/slideLayout" Target="../slideLayouts/slideLayout389.xml"/><Relationship Id="rId24" Type="http://schemas.openxmlformats.org/officeDocument/2006/relationships/slideLayout" Target="../slideLayouts/slideLayout384.xml"/><Relationship Id="rId40" Type="http://schemas.openxmlformats.org/officeDocument/2006/relationships/slideLayout" Target="../slideLayouts/slideLayout400.xml"/><Relationship Id="rId45" Type="http://schemas.openxmlformats.org/officeDocument/2006/relationships/slideLayout" Target="../slideLayouts/slideLayout405.xml"/><Relationship Id="rId66" Type="http://schemas.openxmlformats.org/officeDocument/2006/relationships/slideLayout" Target="../slideLayouts/slideLayout426.xml"/><Relationship Id="rId87" Type="http://schemas.openxmlformats.org/officeDocument/2006/relationships/slideLayout" Target="../slideLayouts/slideLayout447.xml"/><Relationship Id="rId61" Type="http://schemas.openxmlformats.org/officeDocument/2006/relationships/slideLayout" Target="../slideLayouts/slideLayout421.xml"/><Relationship Id="rId82" Type="http://schemas.openxmlformats.org/officeDocument/2006/relationships/slideLayout" Target="../slideLayouts/slideLayout442.xml"/><Relationship Id="rId19" Type="http://schemas.openxmlformats.org/officeDocument/2006/relationships/slideLayout" Target="../slideLayouts/slideLayout379.xml"/><Relationship Id="rId14" Type="http://schemas.openxmlformats.org/officeDocument/2006/relationships/slideLayout" Target="../slideLayouts/slideLayout374.xml"/><Relationship Id="rId30" Type="http://schemas.openxmlformats.org/officeDocument/2006/relationships/slideLayout" Target="../slideLayouts/slideLayout390.xml"/><Relationship Id="rId35" Type="http://schemas.openxmlformats.org/officeDocument/2006/relationships/slideLayout" Target="../slideLayouts/slideLayout395.xml"/><Relationship Id="rId56" Type="http://schemas.openxmlformats.org/officeDocument/2006/relationships/slideLayout" Target="../slideLayouts/slideLayout416.xml"/><Relationship Id="rId77" Type="http://schemas.openxmlformats.org/officeDocument/2006/relationships/slideLayout" Target="../slideLayouts/slideLayout437.xml"/><Relationship Id="rId100" Type="http://schemas.openxmlformats.org/officeDocument/2006/relationships/image" Target="../media/image5.emf"/><Relationship Id="rId8" Type="http://schemas.openxmlformats.org/officeDocument/2006/relationships/slideLayout" Target="../slideLayouts/slideLayout368.xml"/><Relationship Id="rId51" Type="http://schemas.openxmlformats.org/officeDocument/2006/relationships/slideLayout" Target="../slideLayouts/slideLayout411.xml"/><Relationship Id="rId72" Type="http://schemas.openxmlformats.org/officeDocument/2006/relationships/slideLayout" Target="../slideLayouts/slideLayout432.xml"/><Relationship Id="rId93" Type="http://schemas.openxmlformats.org/officeDocument/2006/relationships/slideLayout" Target="../slideLayouts/slideLayout453.xml"/><Relationship Id="rId98" Type="http://schemas.openxmlformats.org/officeDocument/2006/relationships/image" Target="../media/image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1.xml"/><Relationship Id="rId13" Type="http://schemas.openxmlformats.org/officeDocument/2006/relationships/slideLayout" Target="../slideLayouts/slideLayout466.xml"/><Relationship Id="rId3" Type="http://schemas.openxmlformats.org/officeDocument/2006/relationships/slideLayout" Target="../slideLayouts/slideLayout456.xml"/><Relationship Id="rId7" Type="http://schemas.openxmlformats.org/officeDocument/2006/relationships/slideLayout" Target="../slideLayouts/slideLayout460.xml"/><Relationship Id="rId12" Type="http://schemas.openxmlformats.org/officeDocument/2006/relationships/slideLayout" Target="../slideLayouts/slideLayout465.xml"/><Relationship Id="rId2" Type="http://schemas.openxmlformats.org/officeDocument/2006/relationships/slideLayout" Target="../slideLayouts/slideLayout455.xml"/><Relationship Id="rId1" Type="http://schemas.openxmlformats.org/officeDocument/2006/relationships/slideLayout" Target="../slideLayouts/slideLayout454.xml"/><Relationship Id="rId6" Type="http://schemas.openxmlformats.org/officeDocument/2006/relationships/slideLayout" Target="../slideLayouts/slideLayout459.xml"/><Relationship Id="rId11" Type="http://schemas.openxmlformats.org/officeDocument/2006/relationships/slideLayout" Target="../slideLayouts/slideLayout464.xml"/><Relationship Id="rId5" Type="http://schemas.openxmlformats.org/officeDocument/2006/relationships/slideLayout" Target="../slideLayouts/slideLayout458.xml"/><Relationship Id="rId10" Type="http://schemas.openxmlformats.org/officeDocument/2006/relationships/slideLayout" Target="../slideLayouts/slideLayout463.xml"/><Relationship Id="rId4" Type="http://schemas.openxmlformats.org/officeDocument/2006/relationships/slideLayout" Target="../slideLayouts/slideLayout457.xml"/><Relationship Id="rId9" Type="http://schemas.openxmlformats.org/officeDocument/2006/relationships/slideLayout" Target="../slideLayouts/slideLayout462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92.xml"/><Relationship Id="rId21" Type="http://schemas.openxmlformats.org/officeDocument/2006/relationships/slideLayout" Target="../slideLayouts/slideLayout487.xml"/><Relationship Id="rId42" Type="http://schemas.openxmlformats.org/officeDocument/2006/relationships/slideLayout" Target="../slideLayouts/slideLayout508.xml"/><Relationship Id="rId47" Type="http://schemas.openxmlformats.org/officeDocument/2006/relationships/slideLayout" Target="../slideLayouts/slideLayout513.xml"/><Relationship Id="rId63" Type="http://schemas.openxmlformats.org/officeDocument/2006/relationships/slideLayout" Target="../slideLayouts/slideLayout529.xml"/><Relationship Id="rId68" Type="http://schemas.openxmlformats.org/officeDocument/2006/relationships/slideLayout" Target="../slideLayouts/slideLayout534.xml"/><Relationship Id="rId84" Type="http://schemas.openxmlformats.org/officeDocument/2006/relationships/slideLayout" Target="../slideLayouts/slideLayout550.xml"/><Relationship Id="rId89" Type="http://schemas.openxmlformats.org/officeDocument/2006/relationships/slideLayout" Target="../slideLayouts/slideLayout555.xml"/><Relationship Id="rId16" Type="http://schemas.openxmlformats.org/officeDocument/2006/relationships/slideLayout" Target="../slideLayouts/slideLayout482.xml"/><Relationship Id="rId11" Type="http://schemas.openxmlformats.org/officeDocument/2006/relationships/slideLayout" Target="../slideLayouts/slideLayout477.xml"/><Relationship Id="rId32" Type="http://schemas.openxmlformats.org/officeDocument/2006/relationships/slideLayout" Target="../slideLayouts/slideLayout498.xml"/><Relationship Id="rId37" Type="http://schemas.openxmlformats.org/officeDocument/2006/relationships/slideLayout" Target="../slideLayouts/slideLayout503.xml"/><Relationship Id="rId53" Type="http://schemas.openxmlformats.org/officeDocument/2006/relationships/slideLayout" Target="../slideLayouts/slideLayout519.xml"/><Relationship Id="rId58" Type="http://schemas.openxmlformats.org/officeDocument/2006/relationships/slideLayout" Target="../slideLayouts/slideLayout524.xml"/><Relationship Id="rId74" Type="http://schemas.openxmlformats.org/officeDocument/2006/relationships/slideLayout" Target="../slideLayouts/slideLayout540.xml"/><Relationship Id="rId79" Type="http://schemas.openxmlformats.org/officeDocument/2006/relationships/slideLayout" Target="../slideLayouts/slideLayout545.xml"/><Relationship Id="rId5" Type="http://schemas.openxmlformats.org/officeDocument/2006/relationships/slideLayout" Target="../slideLayouts/slideLayout471.xml"/><Relationship Id="rId90" Type="http://schemas.openxmlformats.org/officeDocument/2006/relationships/slideLayout" Target="../slideLayouts/slideLayout556.xml"/><Relationship Id="rId95" Type="http://schemas.openxmlformats.org/officeDocument/2006/relationships/tags" Target="../tags/tag574.xml"/><Relationship Id="rId22" Type="http://schemas.openxmlformats.org/officeDocument/2006/relationships/slideLayout" Target="../slideLayouts/slideLayout488.xml"/><Relationship Id="rId27" Type="http://schemas.openxmlformats.org/officeDocument/2006/relationships/slideLayout" Target="../slideLayouts/slideLayout493.xml"/><Relationship Id="rId43" Type="http://schemas.openxmlformats.org/officeDocument/2006/relationships/slideLayout" Target="../slideLayouts/slideLayout509.xml"/><Relationship Id="rId48" Type="http://schemas.openxmlformats.org/officeDocument/2006/relationships/slideLayout" Target="../slideLayouts/slideLayout514.xml"/><Relationship Id="rId64" Type="http://schemas.openxmlformats.org/officeDocument/2006/relationships/slideLayout" Target="../slideLayouts/slideLayout530.xml"/><Relationship Id="rId69" Type="http://schemas.openxmlformats.org/officeDocument/2006/relationships/slideLayout" Target="../slideLayouts/slideLayout535.xml"/><Relationship Id="rId80" Type="http://schemas.openxmlformats.org/officeDocument/2006/relationships/slideLayout" Target="../slideLayouts/slideLayout546.xml"/><Relationship Id="rId85" Type="http://schemas.openxmlformats.org/officeDocument/2006/relationships/slideLayout" Target="../slideLayouts/slideLayout551.xml"/><Relationship Id="rId3" Type="http://schemas.openxmlformats.org/officeDocument/2006/relationships/slideLayout" Target="../slideLayouts/slideLayout469.xml"/><Relationship Id="rId12" Type="http://schemas.openxmlformats.org/officeDocument/2006/relationships/slideLayout" Target="../slideLayouts/slideLayout478.xml"/><Relationship Id="rId17" Type="http://schemas.openxmlformats.org/officeDocument/2006/relationships/slideLayout" Target="../slideLayouts/slideLayout483.xml"/><Relationship Id="rId25" Type="http://schemas.openxmlformats.org/officeDocument/2006/relationships/slideLayout" Target="../slideLayouts/slideLayout491.xml"/><Relationship Id="rId33" Type="http://schemas.openxmlformats.org/officeDocument/2006/relationships/slideLayout" Target="../slideLayouts/slideLayout499.xml"/><Relationship Id="rId38" Type="http://schemas.openxmlformats.org/officeDocument/2006/relationships/slideLayout" Target="../slideLayouts/slideLayout504.xml"/><Relationship Id="rId46" Type="http://schemas.openxmlformats.org/officeDocument/2006/relationships/slideLayout" Target="../slideLayouts/slideLayout512.xml"/><Relationship Id="rId59" Type="http://schemas.openxmlformats.org/officeDocument/2006/relationships/slideLayout" Target="../slideLayouts/slideLayout525.xml"/><Relationship Id="rId67" Type="http://schemas.openxmlformats.org/officeDocument/2006/relationships/slideLayout" Target="../slideLayouts/slideLayout533.xml"/><Relationship Id="rId20" Type="http://schemas.openxmlformats.org/officeDocument/2006/relationships/slideLayout" Target="../slideLayouts/slideLayout486.xml"/><Relationship Id="rId41" Type="http://schemas.openxmlformats.org/officeDocument/2006/relationships/slideLayout" Target="../slideLayouts/slideLayout507.xml"/><Relationship Id="rId54" Type="http://schemas.openxmlformats.org/officeDocument/2006/relationships/slideLayout" Target="../slideLayouts/slideLayout520.xml"/><Relationship Id="rId62" Type="http://schemas.openxmlformats.org/officeDocument/2006/relationships/slideLayout" Target="../slideLayouts/slideLayout528.xml"/><Relationship Id="rId70" Type="http://schemas.openxmlformats.org/officeDocument/2006/relationships/slideLayout" Target="../slideLayouts/slideLayout536.xml"/><Relationship Id="rId75" Type="http://schemas.openxmlformats.org/officeDocument/2006/relationships/slideLayout" Target="../slideLayouts/slideLayout541.xml"/><Relationship Id="rId83" Type="http://schemas.openxmlformats.org/officeDocument/2006/relationships/slideLayout" Target="../slideLayouts/slideLayout549.xml"/><Relationship Id="rId88" Type="http://schemas.openxmlformats.org/officeDocument/2006/relationships/slideLayout" Target="../slideLayouts/slideLayout554.xml"/><Relationship Id="rId91" Type="http://schemas.openxmlformats.org/officeDocument/2006/relationships/slideLayout" Target="../slideLayouts/slideLayout557.xml"/><Relationship Id="rId96" Type="http://schemas.openxmlformats.org/officeDocument/2006/relationships/tags" Target="../tags/tag575.xml"/><Relationship Id="rId1" Type="http://schemas.openxmlformats.org/officeDocument/2006/relationships/slideLayout" Target="../slideLayouts/slideLayout467.xml"/><Relationship Id="rId6" Type="http://schemas.openxmlformats.org/officeDocument/2006/relationships/slideLayout" Target="../slideLayouts/slideLayout472.xml"/><Relationship Id="rId15" Type="http://schemas.openxmlformats.org/officeDocument/2006/relationships/slideLayout" Target="../slideLayouts/slideLayout481.xml"/><Relationship Id="rId23" Type="http://schemas.openxmlformats.org/officeDocument/2006/relationships/slideLayout" Target="../slideLayouts/slideLayout489.xml"/><Relationship Id="rId28" Type="http://schemas.openxmlformats.org/officeDocument/2006/relationships/slideLayout" Target="../slideLayouts/slideLayout494.xml"/><Relationship Id="rId36" Type="http://schemas.openxmlformats.org/officeDocument/2006/relationships/slideLayout" Target="../slideLayouts/slideLayout502.xml"/><Relationship Id="rId49" Type="http://schemas.openxmlformats.org/officeDocument/2006/relationships/slideLayout" Target="../slideLayouts/slideLayout515.xml"/><Relationship Id="rId57" Type="http://schemas.openxmlformats.org/officeDocument/2006/relationships/slideLayout" Target="../slideLayouts/slideLayout523.xml"/><Relationship Id="rId10" Type="http://schemas.openxmlformats.org/officeDocument/2006/relationships/slideLayout" Target="../slideLayouts/slideLayout476.xml"/><Relationship Id="rId31" Type="http://schemas.openxmlformats.org/officeDocument/2006/relationships/slideLayout" Target="../slideLayouts/slideLayout497.xml"/><Relationship Id="rId44" Type="http://schemas.openxmlformats.org/officeDocument/2006/relationships/slideLayout" Target="../slideLayouts/slideLayout510.xml"/><Relationship Id="rId52" Type="http://schemas.openxmlformats.org/officeDocument/2006/relationships/slideLayout" Target="../slideLayouts/slideLayout518.xml"/><Relationship Id="rId60" Type="http://schemas.openxmlformats.org/officeDocument/2006/relationships/slideLayout" Target="../slideLayouts/slideLayout526.xml"/><Relationship Id="rId65" Type="http://schemas.openxmlformats.org/officeDocument/2006/relationships/slideLayout" Target="../slideLayouts/slideLayout531.xml"/><Relationship Id="rId73" Type="http://schemas.openxmlformats.org/officeDocument/2006/relationships/slideLayout" Target="../slideLayouts/slideLayout539.xml"/><Relationship Id="rId78" Type="http://schemas.openxmlformats.org/officeDocument/2006/relationships/slideLayout" Target="../slideLayouts/slideLayout544.xml"/><Relationship Id="rId81" Type="http://schemas.openxmlformats.org/officeDocument/2006/relationships/slideLayout" Target="../slideLayouts/slideLayout547.xml"/><Relationship Id="rId86" Type="http://schemas.openxmlformats.org/officeDocument/2006/relationships/slideLayout" Target="../slideLayouts/slideLayout552.xml"/><Relationship Id="rId94" Type="http://schemas.openxmlformats.org/officeDocument/2006/relationships/theme" Target="../theme/theme8.xml"/><Relationship Id="rId99" Type="http://schemas.openxmlformats.org/officeDocument/2006/relationships/image" Target="../media/image30.png"/><Relationship Id="rId4" Type="http://schemas.openxmlformats.org/officeDocument/2006/relationships/slideLayout" Target="../slideLayouts/slideLayout470.xml"/><Relationship Id="rId9" Type="http://schemas.openxmlformats.org/officeDocument/2006/relationships/slideLayout" Target="../slideLayouts/slideLayout475.xml"/><Relationship Id="rId13" Type="http://schemas.openxmlformats.org/officeDocument/2006/relationships/slideLayout" Target="../slideLayouts/slideLayout479.xml"/><Relationship Id="rId18" Type="http://schemas.openxmlformats.org/officeDocument/2006/relationships/slideLayout" Target="../slideLayouts/slideLayout484.xml"/><Relationship Id="rId39" Type="http://schemas.openxmlformats.org/officeDocument/2006/relationships/slideLayout" Target="../slideLayouts/slideLayout505.xml"/><Relationship Id="rId34" Type="http://schemas.openxmlformats.org/officeDocument/2006/relationships/slideLayout" Target="../slideLayouts/slideLayout500.xml"/><Relationship Id="rId50" Type="http://schemas.openxmlformats.org/officeDocument/2006/relationships/slideLayout" Target="../slideLayouts/slideLayout516.xml"/><Relationship Id="rId55" Type="http://schemas.openxmlformats.org/officeDocument/2006/relationships/slideLayout" Target="../slideLayouts/slideLayout521.xml"/><Relationship Id="rId76" Type="http://schemas.openxmlformats.org/officeDocument/2006/relationships/slideLayout" Target="../slideLayouts/slideLayout542.xml"/><Relationship Id="rId97" Type="http://schemas.openxmlformats.org/officeDocument/2006/relationships/oleObject" Target="../embeddings/oleObject40.bin"/><Relationship Id="rId7" Type="http://schemas.openxmlformats.org/officeDocument/2006/relationships/slideLayout" Target="../slideLayouts/slideLayout473.xml"/><Relationship Id="rId71" Type="http://schemas.openxmlformats.org/officeDocument/2006/relationships/slideLayout" Target="../slideLayouts/slideLayout537.xml"/><Relationship Id="rId92" Type="http://schemas.openxmlformats.org/officeDocument/2006/relationships/slideLayout" Target="../slideLayouts/slideLayout558.xml"/><Relationship Id="rId2" Type="http://schemas.openxmlformats.org/officeDocument/2006/relationships/slideLayout" Target="../slideLayouts/slideLayout468.xml"/><Relationship Id="rId29" Type="http://schemas.openxmlformats.org/officeDocument/2006/relationships/slideLayout" Target="../slideLayouts/slideLayout495.xml"/><Relationship Id="rId24" Type="http://schemas.openxmlformats.org/officeDocument/2006/relationships/slideLayout" Target="../slideLayouts/slideLayout490.xml"/><Relationship Id="rId40" Type="http://schemas.openxmlformats.org/officeDocument/2006/relationships/slideLayout" Target="../slideLayouts/slideLayout506.xml"/><Relationship Id="rId45" Type="http://schemas.openxmlformats.org/officeDocument/2006/relationships/slideLayout" Target="../slideLayouts/slideLayout511.xml"/><Relationship Id="rId66" Type="http://schemas.openxmlformats.org/officeDocument/2006/relationships/slideLayout" Target="../slideLayouts/slideLayout532.xml"/><Relationship Id="rId87" Type="http://schemas.openxmlformats.org/officeDocument/2006/relationships/slideLayout" Target="../slideLayouts/slideLayout553.xml"/><Relationship Id="rId61" Type="http://schemas.openxmlformats.org/officeDocument/2006/relationships/slideLayout" Target="../slideLayouts/slideLayout527.xml"/><Relationship Id="rId82" Type="http://schemas.openxmlformats.org/officeDocument/2006/relationships/slideLayout" Target="../slideLayouts/slideLayout548.xml"/><Relationship Id="rId19" Type="http://schemas.openxmlformats.org/officeDocument/2006/relationships/slideLayout" Target="../slideLayouts/slideLayout485.xml"/><Relationship Id="rId14" Type="http://schemas.openxmlformats.org/officeDocument/2006/relationships/slideLayout" Target="../slideLayouts/slideLayout480.xml"/><Relationship Id="rId30" Type="http://schemas.openxmlformats.org/officeDocument/2006/relationships/slideLayout" Target="../slideLayouts/slideLayout496.xml"/><Relationship Id="rId35" Type="http://schemas.openxmlformats.org/officeDocument/2006/relationships/slideLayout" Target="../slideLayouts/slideLayout501.xml"/><Relationship Id="rId56" Type="http://schemas.openxmlformats.org/officeDocument/2006/relationships/slideLayout" Target="../slideLayouts/slideLayout522.xml"/><Relationship Id="rId77" Type="http://schemas.openxmlformats.org/officeDocument/2006/relationships/slideLayout" Target="../slideLayouts/slideLayout543.xml"/><Relationship Id="rId100" Type="http://schemas.openxmlformats.org/officeDocument/2006/relationships/image" Target="../media/image5.emf"/><Relationship Id="rId8" Type="http://schemas.openxmlformats.org/officeDocument/2006/relationships/slideLayout" Target="../slideLayouts/slideLayout474.xml"/><Relationship Id="rId51" Type="http://schemas.openxmlformats.org/officeDocument/2006/relationships/slideLayout" Target="../slideLayouts/slideLayout517.xml"/><Relationship Id="rId72" Type="http://schemas.openxmlformats.org/officeDocument/2006/relationships/slideLayout" Target="../slideLayouts/slideLayout538.xml"/><Relationship Id="rId93" Type="http://schemas.openxmlformats.org/officeDocument/2006/relationships/slideLayout" Target="../slideLayouts/slideLayout559.xml"/><Relationship Id="rId98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11299088" cy="7156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dirty="0"/>
              <a:t>Short slide title</a:t>
            </a:r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0000" y="1808163"/>
            <a:ext cx="11299088" cy="38528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19EB2BF-21C7-DA01-6AAC-8D446BDFC72B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215273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3" r:id="rId1"/>
    <p:sldLayoutId id="2147484394" r:id="rId2"/>
    <p:sldLayoutId id="2147484418" r:id="rId3"/>
    <p:sldLayoutId id="2147484398" r:id="rId4"/>
    <p:sldLayoutId id="2147484396" r:id="rId5"/>
    <p:sldLayoutId id="2147484405" r:id="rId6"/>
    <p:sldLayoutId id="2147484402" r:id="rId7"/>
    <p:sldLayoutId id="2147484408" r:id="rId8"/>
    <p:sldLayoutId id="2147484444" r:id="rId9"/>
    <p:sldLayoutId id="2147484409" r:id="rId10"/>
    <p:sldLayoutId id="2147484410" r:id="rId11"/>
    <p:sldLayoutId id="2147484411" r:id="rId12"/>
    <p:sldLayoutId id="2147484412" r:id="rId13"/>
    <p:sldLayoutId id="2147484413" r:id="rId14"/>
    <p:sldLayoutId id="2147484414" r:id="rId15"/>
    <p:sldLayoutId id="2147484415" r:id="rId16"/>
    <p:sldLayoutId id="2147484416" r:id="rId17"/>
    <p:sldLayoutId id="2147484417" r:id="rId18"/>
    <p:sldLayoutId id="2147484419" r:id="rId19"/>
    <p:sldLayoutId id="2147484421" r:id="rId20"/>
    <p:sldLayoutId id="2147484439" r:id="rId21"/>
    <p:sldLayoutId id="2147484422" r:id="rId22"/>
    <p:sldLayoutId id="2147484423" r:id="rId23"/>
    <p:sldLayoutId id="2147484424" r:id="rId24"/>
    <p:sldLayoutId id="2147484426" r:id="rId25"/>
    <p:sldLayoutId id="2147484431" r:id="rId26"/>
    <p:sldLayoutId id="2147484433" r:id="rId27"/>
    <p:sldLayoutId id="2147484434" r:id="rId28"/>
    <p:sldLayoutId id="2147484435" r:id="rId29"/>
    <p:sldLayoutId id="2147484436" r:id="rId30"/>
    <p:sldLayoutId id="2147484445" r:id="rId31"/>
    <p:sldLayoutId id="2147484446" r:id="rId32"/>
    <p:sldLayoutId id="2147484448" r:id="rId33"/>
    <p:sldLayoutId id="2147484449" r:id="rId34"/>
    <p:sldLayoutId id="2147484474" r:id="rId35"/>
    <p:sldLayoutId id="2147484475" r:id="rId36"/>
    <p:sldLayoutId id="2147485258" r:id="rId37"/>
    <p:sldLayoutId id="2147485259" r:id="rId38"/>
    <p:sldLayoutId id="2147485260" r:id="rId39"/>
    <p:sldLayoutId id="2147485261" r:id="rId40"/>
    <p:sldLayoutId id="2147485262" r:id="rId41"/>
    <p:sldLayoutId id="2147485263" r:id="rId42"/>
    <p:sldLayoutId id="2147485264" r:id="rId43"/>
    <p:sldLayoutId id="2147485265" r:id="rId44"/>
    <p:sldLayoutId id="2147485266" r:id="rId45"/>
    <p:sldLayoutId id="2147485267" r:id="rId46"/>
    <p:sldLayoutId id="2147485268" r:id="rId47"/>
    <p:sldLayoutId id="2147485269" r:id="rId48"/>
    <p:sldLayoutId id="2147485270" r:id="rId49"/>
    <p:sldLayoutId id="2147485271" r:id="rId50"/>
    <p:sldLayoutId id="2147485272" r:id="rId51"/>
    <p:sldLayoutId id="2147485273" r:id="rId52"/>
    <p:sldLayoutId id="2147485274" r:id="rId53"/>
    <p:sldLayoutId id="2147485275" r:id="rId54"/>
    <p:sldLayoutId id="2147485276" r:id="rId55"/>
    <p:sldLayoutId id="2147485277" r:id="rId56"/>
    <p:sldLayoutId id="2147485278" r:id="rId57"/>
    <p:sldLayoutId id="2147485279" r:id="rId58"/>
    <p:sldLayoutId id="2147485280" r:id="rId59"/>
    <p:sldLayoutId id="2147485281" r:id="rId60"/>
    <p:sldLayoutId id="2147485282" r:id="rId61"/>
    <p:sldLayoutId id="2147485283" r:id="rId62"/>
    <p:sldLayoutId id="2147485284" r:id="rId63"/>
    <p:sldLayoutId id="2147485285" r:id="rId64"/>
    <p:sldLayoutId id="2147485286" r:id="rId65"/>
    <p:sldLayoutId id="2147485287" r:id="rId66"/>
    <p:sldLayoutId id="2147485288" r:id="rId67"/>
    <p:sldLayoutId id="2147485289" r:id="rId68"/>
    <p:sldLayoutId id="2147485290" r:id="rId6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spc="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SzPct val="100000"/>
        <a:buFont typeface="Wingdings 2" panose="05020102010507070707" pitchFamily="18" charset="2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SzPct val="100000"/>
        <a:buFont typeface="Barlow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6035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Font typeface="Barlow" panose="020B0604020202020204" pitchFamily="34" charset="0"/>
        <a:buChar char="‒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40602020203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1" orient="horz" pos="436">
          <p15:clr>
            <a:srgbClr val="9FCC3B"/>
          </p15:clr>
        </p15:guide>
        <p15:guide id="23" pos="279">
          <p15:clr>
            <a:srgbClr val="9FCC3B"/>
          </p15:clr>
        </p15:guide>
        <p15:guide id="24" pos="7401">
          <p15:clr>
            <a:srgbClr val="9FCC3B"/>
          </p15:clr>
        </p15:guide>
        <p15:guide id="25" pos="2509">
          <p15:clr>
            <a:srgbClr val="5ACBF0"/>
          </p15:clr>
        </p15:guide>
        <p15:guide id="26" pos="2729" userDrawn="1">
          <p15:clr>
            <a:srgbClr val="5ACBF0"/>
          </p15:clr>
        </p15:guide>
        <p15:guide id="30" pos="4951" userDrawn="1">
          <p15:clr>
            <a:srgbClr val="5ACBF0"/>
          </p15:clr>
        </p15:guide>
        <p15:guide id="31" pos="5178" userDrawn="1">
          <p15:clr>
            <a:srgbClr val="5ACBF0"/>
          </p15:clr>
        </p15:guide>
        <p15:guide id="35" orient="horz" pos="3747">
          <p15:clr>
            <a:srgbClr val="9FCC3B"/>
          </p15:clr>
        </p15:guide>
        <p15:guide id="36" orient="horz" pos="3884">
          <p15:clr>
            <a:srgbClr val="000000"/>
          </p15:clr>
        </p15:guide>
        <p15:guide id="38" orient="horz" pos="913">
          <p15:clr>
            <a:srgbClr val="C35EA4"/>
          </p15:clr>
        </p15:guide>
        <p15:guide id="39" orient="horz" pos="1139">
          <p15:clr>
            <a:srgbClr val="5ACBF0"/>
          </p15:clr>
        </p15:guide>
        <p15:guide id="41" pos="1916">
          <p15:clr>
            <a:srgbClr val="F26B43"/>
          </p15:clr>
        </p15:guide>
        <p15:guide id="42" pos="2114">
          <p15:clr>
            <a:srgbClr val="F26B43"/>
          </p15:clr>
        </p15:guide>
        <p15:guide id="43" pos="3942">
          <p15:clr>
            <a:srgbClr val="F26B43"/>
          </p15:clr>
        </p15:guide>
        <p15:guide id="45" pos="3747">
          <p15:clr>
            <a:srgbClr val="F26B43"/>
          </p15:clr>
        </p15:guide>
        <p15:guide id="46" pos="5574">
          <p15:clr>
            <a:srgbClr val="F26B43"/>
          </p15:clr>
        </p15:guide>
        <p15:guide id="47" pos="5763">
          <p15:clr>
            <a:srgbClr val="F26B43"/>
          </p15:clr>
        </p15:guide>
        <p15:guide id="48" orient="horz" pos="142">
          <p15:clr>
            <a:srgbClr val="000000"/>
          </p15:clr>
        </p15:guide>
        <p15:guide id="49" orient="horz" pos="3566">
          <p15:clr>
            <a:srgbClr val="5ACBF0"/>
          </p15:clr>
        </p15:guide>
        <p15:guide id="50" orient="horz" pos="4166">
          <p15:clr>
            <a:srgbClr val="000000"/>
          </p15:clr>
        </p15:guide>
        <p15:guide id="51" pos="140">
          <p15:clr>
            <a:srgbClr val="000000"/>
          </p15:clr>
        </p15:guide>
        <p15:guide id="52" pos="7537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AB2621-86FD-02D5-3C10-C4BF825C5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F629F4-1656-EE31-3357-B3EC105A9E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BCF17F-C89E-82DB-2CF6-203C55D2AB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FEA42FF-AF36-4440-8F84-807DB9EB7B7D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7191B-190D-6BA6-72A5-769786E543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3B149A-8009-FF55-8098-9A39B00366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9F87CD0-0915-4731-8CE1-8837ED3D66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747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0" r:id="rId1"/>
    <p:sldLayoutId id="2147485401" r:id="rId2"/>
    <p:sldLayoutId id="2147485402" r:id="rId3"/>
    <p:sldLayoutId id="2147485403" r:id="rId4"/>
    <p:sldLayoutId id="2147485404" r:id="rId5"/>
    <p:sldLayoutId id="2147485405" r:id="rId6"/>
    <p:sldLayoutId id="2147485406" r:id="rId7"/>
    <p:sldLayoutId id="2147485407" r:id="rId8"/>
    <p:sldLayoutId id="2147485408" r:id="rId9"/>
    <p:sldLayoutId id="2147485409" r:id="rId10"/>
    <p:sldLayoutId id="214748541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A96836-6B46-D24C-8EC4-61BD79792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722DE-AF17-E24D-AA32-54768E11B8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22D36C-3288-AA40-BE22-2F7F83F376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ED4A0F8-A83B-1749-A6F2-C13AE951CE5E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8EFA74-D38F-1B46-A84D-18C3B723D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837960-7000-A749-98E6-5CF195682B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20DC692E-EBE1-314F-A027-A3EC1CA91F1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266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464" r:id="rId14"/>
    <p:sldLayoutId id="2147484465" r:id="rId15"/>
    <p:sldLayoutId id="2147484466" r:id="rId16"/>
    <p:sldLayoutId id="2147484467" r:id="rId17"/>
    <p:sldLayoutId id="2147484468" r:id="rId18"/>
    <p:sldLayoutId id="2147484469" r:id="rId19"/>
    <p:sldLayoutId id="2147484470" r:id="rId20"/>
    <p:sldLayoutId id="2147484471" r:id="rId21"/>
    <p:sldLayoutId id="2147484472" r:id="rId22"/>
    <p:sldLayoutId id="2147484473" r:id="rId2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8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0" imgW="532" imgH="530" progId="TCLayout.ActiveDocument.1">
                  <p:embed/>
                </p:oleObj>
              </mc:Choice>
              <mc:Fallback>
                <p:oleObj name="Diapositive think-cell" r:id="rId250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249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5" y="1808820"/>
            <a:ext cx="8319507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5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/>
              <a:t>© Ipsos | Doc Name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2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903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8" r:id="rId1"/>
    <p:sldLayoutId id="2147484479" r:id="rId2"/>
    <p:sldLayoutId id="2147484480" r:id="rId3"/>
    <p:sldLayoutId id="2147484481" r:id="rId4"/>
    <p:sldLayoutId id="2147484482" r:id="rId5"/>
    <p:sldLayoutId id="2147484483" r:id="rId6"/>
    <p:sldLayoutId id="2147484484" r:id="rId7"/>
    <p:sldLayoutId id="2147484485" r:id="rId8"/>
    <p:sldLayoutId id="2147484486" r:id="rId9"/>
    <p:sldLayoutId id="2147484487" r:id="rId10"/>
    <p:sldLayoutId id="2147484488" r:id="rId11"/>
    <p:sldLayoutId id="2147484489" r:id="rId12"/>
    <p:sldLayoutId id="2147484490" r:id="rId13"/>
    <p:sldLayoutId id="2147484491" r:id="rId14"/>
    <p:sldLayoutId id="2147484492" r:id="rId15"/>
    <p:sldLayoutId id="2147484493" r:id="rId16"/>
    <p:sldLayoutId id="2147484494" r:id="rId17"/>
    <p:sldLayoutId id="2147484495" r:id="rId18"/>
    <p:sldLayoutId id="2147484496" r:id="rId19"/>
    <p:sldLayoutId id="2147484497" r:id="rId20"/>
    <p:sldLayoutId id="2147484498" r:id="rId21"/>
    <p:sldLayoutId id="2147484499" r:id="rId22"/>
    <p:sldLayoutId id="2147484500" r:id="rId23"/>
    <p:sldLayoutId id="2147484501" r:id="rId24"/>
    <p:sldLayoutId id="2147484502" r:id="rId25"/>
    <p:sldLayoutId id="2147484503" r:id="rId26"/>
    <p:sldLayoutId id="2147484504" r:id="rId27"/>
    <p:sldLayoutId id="2147484505" r:id="rId28"/>
    <p:sldLayoutId id="2147484506" r:id="rId29"/>
    <p:sldLayoutId id="2147484507" r:id="rId30"/>
    <p:sldLayoutId id="2147484508" r:id="rId31"/>
    <p:sldLayoutId id="2147484509" r:id="rId32"/>
    <p:sldLayoutId id="2147484510" r:id="rId33"/>
    <p:sldLayoutId id="2147484511" r:id="rId34"/>
    <p:sldLayoutId id="2147484512" r:id="rId35"/>
    <p:sldLayoutId id="2147484513" r:id="rId36"/>
    <p:sldLayoutId id="2147484514" r:id="rId37"/>
    <p:sldLayoutId id="2147484515" r:id="rId38"/>
    <p:sldLayoutId id="2147484516" r:id="rId39"/>
    <p:sldLayoutId id="2147484517" r:id="rId40"/>
    <p:sldLayoutId id="2147484518" r:id="rId41"/>
    <p:sldLayoutId id="2147484519" r:id="rId42"/>
    <p:sldLayoutId id="2147484520" r:id="rId43"/>
    <p:sldLayoutId id="2147484521" r:id="rId44"/>
    <p:sldLayoutId id="2147484522" r:id="rId45"/>
    <p:sldLayoutId id="2147484523" r:id="rId46"/>
    <p:sldLayoutId id="2147484524" r:id="rId47"/>
    <p:sldLayoutId id="2147484525" r:id="rId48"/>
    <p:sldLayoutId id="2147484526" r:id="rId49"/>
    <p:sldLayoutId id="2147484527" r:id="rId50"/>
    <p:sldLayoutId id="2147484528" r:id="rId51"/>
    <p:sldLayoutId id="2147484529" r:id="rId52"/>
    <p:sldLayoutId id="2147484530" r:id="rId53"/>
    <p:sldLayoutId id="2147484531" r:id="rId54"/>
    <p:sldLayoutId id="2147484532" r:id="rId55"/>
    <p:sldLayoutId id="2147484533" r:id="rId56"/>
    <p:sldLayoutId id="2147484534" r:id="rId57"/>
    <p:sldLayoutId id="2147484535" r:id="rId58"/>
    <p:sldLayoutId id="2147484536" r:id="rId59"/>
    <p:sldLayoutId id="2147484537" r:id="rId60"/>
    <p:sldLayoutId id="2147484538" r:id="rId61"/>
    <p:sldLayoutId id="2147484539" r:id="rId62"/>
    <p:sldLayoutId id="2147484540" r:id="rId63"/>
    <p:sldLayoutId id="2147484541" r:id="rId64"/>
    <p:sldLayoutId id="2147484542" r:id="rId65"/>
    <p:sldLayoutId id="2147484543" r:id="rId66"/>
    <p:sldLayoutId id="2147484544" r:id="rId67"/>
    <p:sldLayoutId id="2147484545" r:id="rId68"/>
    <p:sldLayoutId id="2147484546" r:id="rId69"/>
    <p:sldLayoutId id="2147484547" r:id="rId70"/>
    <p:sldLayoutId id="2147484548" r:id="rId71"/>
    <p:sldLayoutId id="2147484549" r:id="rId72"/>
    <p:sldLayoutId id="2147484550" r:id="rId73"/>
    <p:sldLayoutId id="2147484551" r:id="rId74"/>
    <p:sldLayoutId id="2147484552" r:id="rId75"/>
    <p:sldLayoutId id="2147484553" r:id="rId76"/>
    <p:sldLayoutId id="2147484554" r:id="rId77"/>
    <p:sldLayoutId id="2147484555" r:id="rId78"/>
    <p:sldLayoutId id="2147484556" r:id="rId79"/>
    <p:sldLayoutId id="2147484557" r:id="rId80"/>
    <p:sldLayoutId id="2147484558" r:id="rId81"/>
    <p:sldLayoutId id="2147484559" r:id="rId82"/>
    <p:sldLayoutId id="2147484560" r:id="rId83"/>
    <p:sldLayoutId id="2147484561" r:id="rId84"/>
    <p:sldLayoutId id="2147484562" r:id="rId85"/>
    <p:sldLayoutId id="2147484563" r:id="rId86"/>
    <p:sldLayoutId id="2147484564" r:id="rId87"/>
    <p:sldLayoutId id="2147484566" r:id="rId88"/>
    <p:sldLayoutId id="2147484567" r:id="rId89"/>
    <p:sldLayoutId id="2147484568" r:id="rId90"/>
    <p:sldLayoutId id="2147484569" r:id="rId91"/>
    <p:sldLayoutId id="2147484570" r:id="rId92"/>
    <p:sldLayoutId id="2147484571" r:id="rId93"/>
    <p:sldLayoutId id="2147484572" r:id="rId94"/>
    <p:sldLayoutId id="2147484574" r:id="rId95"/>
    <p:sldLayoutId id="2147484575" r:id="rId96"/>
    <p:sldLayoutId id="2147484576" r:id="rId97"/>
    <p:sldLayoutId id="2147484577" r:id="rId98"/>
    <p:sldLayoutId id="2147484578" r:id="rId99"/>
    <p:sldLayoutId id="2147484579" r:id="rId100"/>
    <p:sldLayoutId id="2147484580" r:id="rId101"/>
    <p:sldLayoutId id="2147484581" r:id="rId102"/>
    <p:sldLayoutId id="2147484582" r:id="rId103"/>
    <p:sldLayoutId id="2147484583" r:id="rId104"/>
    <p:sldLayoutId id="2147484584" r:id="rId105"/>
    <p:sldLayoutId id="2147484585" r:id="rId106"/>
    <p:sldLayoutId id="2147484586" r:id="rId107"/>
    <p:sldLayoutId id="2147484587" r:id="rId108"/>
    <p:sldLayoutId id="2147484588" r:id="rId109"/>
    <p:sldLayoutId id="2147484589" r:id="rId110"/>
    <p:sldLayoutId id="2147484590" r:id="rId111"/>
    <p:sldLayoutId id="2147484591" r:id="rId112"/>
    <p:sldLayoutId id="2147484592" r:id="rId113"/>
    <p:sldLayoutId id="2147484593" r:id="rId114"/>
    <p:sldLayoutId id="2147484594" r:id="rId115"/>
    <p:sldLayoutId id="2147484595" r:id="rId116"/>
    <p:sldLayoutId id="2147484596" r:id="rId117"/>
    <p:sldLayoutId id="2147484597" r:id="rId118"/>
    <p:sldLayoutId id="2147484598" r:id="rId119"/>
    <p:sldLayoutId id="2147484599" r:id="rId120"/>
    <p:sldLayoutId id="2147484600" r:id="rId121"/>
    <p:sldLayoutId id="2147484601" r:id="rId122"/>
    <p:sldLayoutId id="2147484602" r:id="rId123"/>
    <p:sldLayoutId id="2147484603" r:id="rId124"/>
    <p:sldLayoutId id="2147484604" r:id="rId125"/>
    <p:sldLayoutId id="2147484605" r:id="rId126"/>
    <p:sldLayoutId id="2147484606" r:id="rId127"/>
    <p:sldLayoutId id="2147484607" r:id="rId128"/>
    <p:sldLayoutId id="2147484608" r:id="rId129"/>
    <p:sldLayoutId id="2147484609" r:id="rId130"/>
    <p:sldLayoutId id="2147484610" r:id="rId131"/>
    <p:sldLayoutId id="2147484611" r:id="rId132"/>
    <p:sldLayoutId id="2147484612" r:id="rId133"/>
    <p:sldLayoutId id="2147484613" r:id="rId134"/>
    <p:sldLayoutId id="2147484614" r:id="rId135"/>
    <p:sldLayoutId id="2147484615" r:id="rId136"/>
    <p:sldLayoutId id="2147484616" r:id="rId137"/>
    <p:sldLayoutId id="2147484617" r:id="rId138"/>
    <p:sldLayoutId id="2147484618" r:id="rId139"/>
    <p:sldLayoutId id="2147484619" r:id="rId140"/>
    <p:sldLayoutId id="2147484620" r:id="rId141"/>
    <p:sldLayoutId id="2147484621" r:id="rId142"/>
    <p:sldLayoutId id="2147484622" r:id="rId143"/>
    <p:sldLayoutId id="2147484623" r:id="rId144"/>
    <p:sldLayoutId id="2147484624" r:id="rId145"/>
    <p:sldLayoutId id="2147484625" r:id="rId146"/>
    <p:sldLayoutId id="2147484626" r:id="rId147"/>
    <p:sldLayoutId id="2147484627" r:id="rId148"/>
    <p:sldLayoutId id="2147484628" r:id="rId149"/>
    <p:sldLayoutId id="2147484629" r:id="rId150"/>
    <p:sldLayoutId id="2147484630" r:id="rId151"/>
    <p:sldLayoutId id="2147484634" r:id="rId152"/>
    <p:sldLayoutId id="2147484635" r:id="rId153"/>
    <p:sldLayoutId id="2147484636" r:id="rId154"/>
    <p:sldLayoutId id="2147484637" r:id="rId155"/>
    <p:sldLayoutId id="2147484638" r:id="rId156"/>
    <p:sldLayoutId id="2147484639" r:id="rId157"/>
    <p:sldLayoutId id="2147484640" r:id="rId158"/>
    <p:sldLayoutId id="2147484641" r:id="rId159"/>
    <p:sldLayoutId id="2147484642" r:id="rId160"/>
    <p:sldLayoutId id="2147484643" r:id="rId161"/>
    <p:sldLayoutId id="2147484644" r:id="rId162"/>
    <p:sldLayoutId id="2147484645" r:id="rId163"/>
    <p:sldLayoutId id="2147484646" r:id="rId164"/>
    <p:sldLayoutId id="2147484647" r:id="rId165"/>
    <p:sldLayoutId id="2147484649" r:id="rId166"/>
    <p:sldLayoutId id="2147484732" r:id="rId167"/>
    <p:sldLayoutId id="2147484733" r:id="rId168"/>
    <p:sldLayoutId id="2147484734" r:id="rId169"/>
    <p:sldLayoutId id="2147484735" r:id="rId170"/>
    <p:sldLayoutId id="2147484736" r:id="rId171"/>
    <p:sldLayoutId id="2147484737" r:id="rId172"/>
    <p:sldLayoutId id="2147484738" r:id="rId173"/>
    <p:sldLayoutId id="2147484739" r:id="rId174"/>
    <p:sldLayoutId id="2147484740" r:id="rId175"/>
    <p:sldLayoutId id="2147484741" r:id="rId176"/>
    <p:sldLayoutId id="2147484742" r:id="rId177"/>
    <p:sldLayoutId id="2147484743" r:id="rId178"/>
    <p:sldLayoutId id="2147484744" r:id="rId179"/>
    <p:sldLayoutId id="2147484745" r:id="rId180"/>
    <p:sldLayoutId id="2147484746" r:id="rId181"/>
    <p:sldLayoutId id="2147484747" r:id="rId182"/>
    <p:sldLayoutId id="2147484748" r:id="rId183"/>
    <p:sldLayoutId id="2147484749" r:id="rId184"/>
    <p:sldLayoutId id="2147484750" r:id="rId185"/>
    <p:sldLayoutId id="2147484751" r:id="rId186"/>
    <p:sldLayoutId id="2147484752" r:id="rId187"/>
    <p:sldLayoutId id="2147484753" r:id="rId188"/>
    <p:sldLayoutId id="2147484754" r:id="rId189"/>
    <p:sldLayoutId id="2147484755" r:id="rId190"/>
    <p:sldLayoutId id="2147484756" r:id="rId191"/>
    <p:sldLayoutId id="2147484757" r:id="rId192"/>
    <p:sldLayoutId id="2147484758" r:id="rId193"/>
    <p:sldLayoutId id="2147484759" r:id="rId194"/>
    <p:sldLayoutId id="2147484760" r:id="rId195"/>
    <p:sldLayoutId id="2147484761" r:id="rId196"/>
    <p:sldLayoutId id="2147484762" r:id="rId197"/>
    <p:sldLayoutId id="2147484763" r:id="rId198"/>
    <p:sldLayoutId id="2147484764" r:id="rId199"/>
    <p:sldLayoutId id="2147484765" r:id="rId200"/>
    <p:sldLayoutId id="2147484766" r:id="rId201"/>
    <p:sldLayoutId id="2147484767" r:id="rId202"/>
    <p:sldLayoutId id="2147484768" r:id="rId203"/>
    <p:sldLayoutId id="2147484769" r:id="rId204"/>
    <p:sldLayoutId id="2147484770" r:id="rId205"/>
    <p:sldLayoutId id="2147484771" r:id="rId206"/>
    <p:sldLayoutId id="2147484772" r:id="rId207"/>
    <p:sldLayoutId id="2147484773" r:id="rId208"/>
    <p:sldLayoutId id="2147484774" r:id="rId209"/>
    <p:sldLayoutId id="2147484775" r:id="rId210"/>
    <p:sldLayoutId id="2147484776" r:id="rId211"/>
    <p:sldLayoutId id="2147484777" r:id="rId212"/>
    <p:sldLayoutId id="2147484778" r:id="rId213"/>
    <p:sldLayoutId id="2147484779" r:id="rId214"/>
    <p:sldLayoutId id="2147484780" r:id="rId215"/>
    <p:sldLayoutId id="2147484781" r:id="rId216"/>
    <p:sldLayoutId id="2147484782" r:id="rId217"/>
    <p:sldLayoutId id="2147484783" r:id="rId218"/>
    <p:sldLayoutId id="2147484784" r:id="rId219"/>
    <p:sldLayoutId id="2147484785" r:id="rId220"/>
    <p:sldLayoutId id="2147484786" r:id="rId221"/>
    <p:sldLayoutId id="2147484787" r:id="rId222"/>
    <p:sldLayoutId id="2147484788" r:id="rId223"/>
    <p:sldLayoutId id="2147484789" r:id="rId224"/>
    <p:sldLayoutId id="2147484790" r:id="rId225"/>
    <p:sldLayoutId id="2147484791" r:id="rId226"/>
    <p:sldLayoutId id="2147484792" r:id="rId227"/>
    <p:sldLayoutId id="2147484793" r:id="rId228"/>
    <p:sldLayoutId id="2147484794" r:id="rId229"/>
    <p:sldLayoutId id="2147484795" r:id="rId230"/>
    <p:sldLayoutId id="2147484796" r:id="rId231"/>
    <p:sldLayoutId id="2147484797" r:id="rId232"/>
    <p:sldLayoutId id="2147484798" r:id="rId233"/>
    <p:sldLayoutId id="2147484799" r:id="rId234"/>
    <p:sldLayoutId id="2147484800" r:id="rId235"/>
    <p:sldLayoutId id="2147484801" r:id="rId236"/>
    <p:sldLayoutId id="2147484802" r:id="rId237"/>
    <p:sldLayoutId id="2147484803" r:id="rId238"/>
    <p:sldLayoutId id="2147484804" r:id="rId239"/>
    <p:sldLayoutId id="2147484805" r:id="rId240"/>
    <p:sldLayoutId id="2147484806" r:id="rId241"/>
    <p:sldLayoutId id="2147484807" r:id="rId242"/>
    <p:sldLayoutId id="2147484808" r:id="rId243"/>
    <p:sldLayoutId id="2147484809" r:id="rId244"/>
    <p:sldLayoutId id="2147484810" r:id="rId245"/>
    <p:sldLayoutId id="2147484969" r:id="rId246"/>
  </p:sldLayoutIdLst>
  <p:hf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3" indent="-85723" algn="l" defTabSz="914377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63" indent="-314317" algn="l" defTabSz="914377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25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57" indent="-171446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0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31" indent="-228594" algn="l" defTabSz="914377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1" kern="1200">
          <a:solidFill>
            <a:schemeClr val="bg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14E56D-AA8C-E282-9DDC-52294F1F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FAFA1F-7BA5-5333-5524-1D30D61158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853931-F7C7-BF6B-3370-E9702A82F2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9961F7-946A-4BA0-8D7D-75EBDE08E6C5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45FF03-ED7F-386A-31D2-3B02152DC2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C5A05-D9B0-C3C4-288C-93749530BA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21723-2D7D-4E71-B37C-0BEF576CAA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625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6" r:id="rId1"/>
    <p:sldLayoutId id="2147484907" r:id="rId2"/>
    <p:sldLayoutId id="2147484908" r:id="rId3"/>
    <p:sldLayoutId id="2147484909" r:id="rId4"/>
    <p:sldLayoutId id="2147484910" r:id="rId5"/>
    <p:sldLayoutId id="2147484911" r:id="rId6"/>
    <p:sldLayoutId id="2147484912" r:id="rId7"/>
    <p:sldLayoutId id="2147484913" r:id="rId8"/>
    <p:sldLayoutId id="2147484914" r:id="rId9"/>
    <p:sldLayoutId id="2147484915" r:id="rId10"/>
    <p:sldLayoutId id="2147484916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7" imgW="532" imgH="530" progId="TCLayout.ActiveDocument.1">
                  <p:embed/>
                </p:oleObj>
              </mc:Choice>
              <mc:Fallback>
                <p:oleObj name="Diapositive think-cell" r:id="rId9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7" y="1808820"/>
            <a:ext cx="11382428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5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425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4" r:id="rId1"/>
    <p:sldLayoutId id="2147485165" r:id="rId2"/>
    <p:sldLayoutId id="2147485166" r:id="rId3"/>
    <p:sldLayoutId id="2147485167" r:id="rId4"/>
    <p:sldLayoutId id="2147485168" r:id="rId5"/>
    <p:sldLayoutId id="2147485169" r:id="rId6"/>
    <p:sldLayoutId id="2147485170" r:id="rId7"/>
    <p:sldLayoutId id="2147485171" r:id="rId8"/>
    <p:sldLayoutId id="2147485172" r:id="rId9"/>
    <p:sldLayoutId id="2147485173" r:id="rId10"/>
    <p:sldLayoutId id="2147485174" r:id="rId11"/>
    <p:sldLayoutId id="2147485175" r:id="rId12"/>
    <p:sldLayoutId id="2147485176" r:id="rId13"/>
    <p:sldLayoutId id="2147485177" r:id="rId14"/>
    <p:sldLayoutId id="2147485178" r:id="rId15"/>
    <p:sldLayoutId id="2147485179" r:id="rId16"/>
    <p:sldLayoutId id="2147485180" r:id="rId17"/>
    <p:sldLayoutId id="2147485181" r:id="rId18"/>
    <p:sldLayoutId id="2147485182" r:id="rId19"/>
    <p:sldLayoutId id="2147485183" r:id="rId20"/>
    <p:sldLayoutId id="2147485184" r:id="rId21"/>
    <p:sldLayoutId id="2147485185" r:id="rId22"/>
    <p:sldLayoutId id="2147485186" r:id="rId23"/>
    <p:sldLayoutId id="2147485187" r:id="rId24"/>
    <p:sldLayoutId id="2147485188" r:id="rId25"/>
    <p:sldLayoutId id="2147485189" r:id="rId26"/>
    <p:sldLayoutId id="2147485190" r:id="rId27"/>
    <p:sldLayoutId id="2147485191" r:id="rId28"/>
    <p:sldLayoutId id="2147485192" r:id="rId29"/>
    <p:sldLayoutId id="2147485193" r:id="rId30"/>
    <p:sldLayoutId id="2147485194" r:id="rId31"/>
    <p:sldLayoutId id="2147485195" r:id="rId32"/>
    <p:sldLayoutId id="2147485196" r:id="rId33"/>
    <p:sldLayoutId id="2147485197" r:id="rId34"/>
    <p:sldLayoutId id="2147485198" r:id="rId35"/>
    <p:sldLayoutId id="2147485199" r:id="rId36"/>
    <p:sldLayoutId id="2147485200" r:id="rId37"/>
    <p:sldLayoutId id="2147485201" r:id="rId38"/>
    <p:sldLayoutId id="2147485202" r:id="rId39"/>
    <p:sldLayoutId id="2147485203" r:id="rId40"/>
    <p:sldLayoutId id="2147485204" r:id="rId41"/>
    <p:sldLayoutId id="2147485205" r:id="rId42"/>
    <p:sldLayoutId id="2147485206" r:id="rId43"/>
    <p:sldLayoutId id="2147485207" r:id="rId44"/>
    <p:sldLayoutId id="2147485208" r:id="rId45"/>
    <p:sldLayoutId id="2147485209" r:id="rId46"/>
    <p:sldLayoutId id="2147485210" r:id="rId47"/>
    <p:sldLayoutId id="2147485211" r:id="rId48"/>
    <p:sldLayoutId id="2147485212" r:id="rId49"/>
    <p:sldLayoutId id="2147485213" r:id="rId50"/>
    <p:sldLayoutId id="2147485214" r:id="rId51"/>
    <p:sldLayoutId id="2147485215" r:id="rId52"/>
    <p:sldLayoutId id="2147485216" r:id="rId53"/>
    <p:sldLayoutId id="2147485217" r:id="rId54"/>
    <p:sldLayoutId id="2147485218" r:id="rId55"/>
    <p:sldLayoutId id="2147485219" r:id="rId56"/>
    <p:sldLayoutId id="2147485220" r:id="rId57"/>
    <p:sldLayoutId id="2147485221" r:id="rId58"/>
    <p:sldLayoutId id="2147485222" r:id="rId59"/>
    <p:sldLayoutId id="2147485223" r:id="rId60"/>
    <p:sldLayoutId id="2147485224" r:id="rId61"/>
    <p:sldLayoutId id="2147485225" r:id="rId62"/>
    <p:sldLayoutId id="2147485226" r:id="rId63"/>
    <p:sldLayoutId id="2147485227" r:id="rId64"/>
    <p:sldLayoutId id="2147485228" r:id="rId65"/>
    <p:sldLayoutId id="2147485229" r:id="rId66"/>
    <p:sldLayoutId id="2147485230" r:id="rId67"/>
    <p:sldLayoutId id="2147485231" r:id="rId68"/>
    <p:sldLayoutId id="2147485232" r:id="rId69"/>
    <p:sldLayoutId id="2147485233" r:id="rId70"/>
    <p:sldLayoutId id="2147485234" r:id="rId71"/>
    <p:sldLayoutId id="2147485235" r:id="rId72"/>
    <p:sldLayoutId id="2147485236" r:id="rId73"/>
    <p:sldLayoutId id="2147485237" r:id="rId74"/>
    <p:sldLayoutId id="2147485238" r:id="rId75"/>
    <p:sldLayoutId id="2147485239" r:id="rId76"/>
    <p:sldLayoutId id="2147485240" r:id="rId77"/>
    <p:sldLayoutId id="2147485241" r:id="rId78"/>
    <p:sldLayoutId id="2147485242" r:id="rId79"/>
    <p:sldLayoutId id="2147485243" r:id="rId80"/>
    <p:sldLayoutId id="2147485244" r:id="rId81"/>
    <p:sldLayoutId id="2147485245" r:id="rId82"/>
    <p:sldLayoutId id="2147485246" r:id="rId83"/>
    <p:sldLayoutId id="2147485247" r:id="rId84"/>
    <p:sldLayoutId id="2147485248" r:id="rId85"/>
    <p:sldLayoutId id="2147485249" r:id="rId86"/>
    <p:sldLayoutId id="2147485250" r:id="rId87"/>
    <p:sldLayoutId id="2147485251" r:id="rId88"/>
    <p:sldLayoutId id="2147485252" r:id="rId89"/>
    <p:sldLayoutId id="2147485253" r:id="rId90"/>
    <p:sldLayoutId id="2147485254" r:id="rId91"/>
    <p:sldLayoutId id="2147485255" r:id="rId92"/>
    <p:sldLayoutId id="2147485256" r:id="rId93"/>
  </p:sldLayoutIdLst>
  <p:hf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3" indent="-85723" algn="l" defTabSz="914377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63" indent="-314317" algn="l" defTabSz="914377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57" indent="-171446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0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31" indent="-228594" algn="l" defTabSz="914377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1" kern="1200">
          <a:solidFill>
            <a:schemeClr val="bg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4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3C05EE-9FAA-A243-8636-83F50486E5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08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2" r:id="rId1"/>
    <p:sldLayoutId id="2147485293" r:id="rId2"/>
    <p:sldLayoutId id="2147485294" r:id="rId3"/>
    <p:sldLayoutId id="2147485295" r:id="rId4"/>
    <p:sldLayoutId id="2147485296" r:id="rId5"/>
    <p:sldLayoutId id="2147485297" r:id="rId6"/>
    <p:sldLayoutId id="2147485298" r:id="rId7"/>
    <p:sldLayoutId id="2147485299" r:id="rId8"/>
    <p:sldLayoutId id="2147485300" r:id="rId9"/>
    <p:sldLayoutId id="2147485301" r:id="rId10"/>
    <p:sldLayoutId id="2147485302" r:id="rId11"/>
    <p:sldLayoutId id="2147485303" r:id="rId12"/>
    <p:sldLayoutId id="2147485304" r:id="rId13"/>
  </p:sldLayoutIdLst>
  <p:hf hdr="0" ftr="0" dt="0"/>
  <p:txStyles>
    <p:titleStyle>
      <a:lvl1pPr algn="l" defTabSz="684587" rtl="0" eaLnBrk="1" latinLnBrk="0" hangingPunct="1">
        <a:lnSpc>
          <a:spcPct val="90000"/>
        </a:lnSpc>
        <a:spcBef>
          <a:spcPct val="0"/>
        </a:spcBef>
        <a:buNone/>
        <a:defRPr sz="329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146" indent="-171146" algn="l" defTabSz="684587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2096" kern="1200">
          <a:solidFill>
            <a:schemeClr val="tx1"/>
          </a:solidFill>
          <a:latin typeface="+mn-lt"/>
          <a:ea typeface="+mn-ea"/>
          <a:cs typeface="+mn-cs"/>
        </a:defRPr>
      </a:lvl1pPr>
      <a:lvl2pPr marL="513439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855733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497" kern="1200">
          <a:solidFill>
            <a:schemeClr val="tx1"/>
          </a:solidFill>
          <a:latin typeface="+mn-lt"/>
          <a:ea typeface="+mn-ea"/>
          <a:cs typeface="+mn-cs"/>
        </a:defRPr>
      </a:lvl3pPr>
      <a:lvl4pPr marL="1198026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348" kern="1200">
          <a:solidFill>
            <a:schemeClr val="tx1"/>
          </a:solidFill>
          <a:latin typeface="+mn-lt"/>
          <a:ea typeface="+mn-ea"/>
          <a:cs typeface="+mn-cs"/>
        </a:defRPr>
      </a:lvl4pPr>
      <a:lvl5pPr marL="1540320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348" kern="1200">
          <a:solidFill>
            <a:schemeClr val="tx1"/>
          </a:solidFill>
          <a:latin typeface="+mn-lt"/>
          <a:ea typeface="+mn-ea"/>
          <a:cs typeface="+mn-cs"/>
        </a:defRPr>
      </a:lvl5pPr>
      <a:lvl6pPr marL="1882613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348" kern="1200">
          <a:solidFill>
            <a:schemeClr val="tx1"/>
          </a:solidFill>
          <a:latin typeface="+mn-lt"/>
          <a:ea typeface="+mn-ea"/>
          <a:cs typeface="+mn-cs"/>
        </a:defRPr>
      </a:lvl6pPr>
      <a:lvl7pPr marL="2224907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348" kern="1200">
          <a:solidFill>
            <a:schemeClr val="tx1"/>
          </a:solidFill>
          <a:latin typeface="+mn-lt"/>
          <a:ea typeface="+mn-ea"/>
          <a:cs typeface="+mn-cs"/>
        </a:defRPr>
      </a:lvl7pPr>
      <a:lvl8pPr marL="2567200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348" kern="1200">
          <a:solidFill>
            <a:schemeClr val="tx1"/>
          </a:solidFill>
          <a:latin typeface="+mn-lt"/>
          <a:ea typeface="+mn-ea"/>
          <a:cs typeface="+mn-cs"/>
        </a:defRPr>
      </a:lvl8pPr>
      <a:lvl9pPr marL="2909494" indent="-171146" algn="l" defTabSz="684587" rtl="0" eaLnBrk="1" latinLnBrk="0" hangingPunct="1">
        <a:lnSpc>
          <a:spcPct val="90000"/>
        </a:lnSpc>
        <a:spcBef>
          <a:spcPts val="373"/>
        </a:spcBef>
        <a:buFont typeface="Arial" panose="020B0604020202020204" pitchFamily="34" charset="0"/>
        <a:buChar char="•"/>
        <a:defRPr sz="13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1pPr>
      <a:lvl2pPr marL="342293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2pPr>
      <a:lvl3pPr marL="684587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3pPr>
      <a:lvl4pPr marL="1026880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4pPr>
      <a:lvl5pPr marL="1369174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5pPr>
      <a:lvl6pPr marL="1711467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6pPr>
      <a:lvl7pPr marL="2053761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7pPr>
      <a:lvl8pPr marL="2396053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8pPr>
      <a:lvl9pPr marL="2738348" algn="l" defTabSz="684587" rtl="0" eaLnBrk="1" latinLnBrk="0" hangingPunct="1">
        <a:defRPr sz="13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7" imgW="532" imgH="530" progId="TCLayout.ActiveDocument.1">
                  <p:embed/>
                </p:oleObj>
              </mc:Choice>
              <mc:Fallback>
                <p:oleObj name="Diapositive think-cell" r:id="rId9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7" y="1808820"/>
            <a:ext cx="11382428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5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/>
              <a:t>© Ipsos | Ipsos Knowledge Centre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1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6" r:id="rId1"/>
    <p:sldLayoutId id="2147485307" r:id="rId2"/>
    <p:sldLayoutId id="2147485308" r:id="rId3"/>
    <p:sldLayoutId id="2147485309" r:id="rId4"/>
    <p:sldLayoutId id="2147485310" r:id="rId5"/>
    <p:sldLayoutId id="2147485311" r:id="rId6"/>
    <p:sldLayoutId id="2147485312" r:id="rId7"/>
    <p:sldLayoutId id="2147485313" r:id="rId8"/>
    <p:sldLayoutId id="2147485314" r:id="rId9"/>
    <p:sldLayoutId id="2147485315" r:id="rId10"/>
    <p:sldLayoutId id="2147485316" r:id="rId11"/>
    <p:sldLayoutId id="2147485317" r:id="rId12"/>
    <p:sldLayoutId id="2147485318" r:id="rId13"/>
    <p:sldLayoutId id="2147485319" r:id="rId14"/>
    <p:sldLayoutId id="2147485320" r:id="rId15"/>
    <p:sldLayoutId id="2147485321" r:id="rId16"/>
    <p:sldLayoutId id="2147485322" r:id="rId17"/>
    <p:sldLayoutId id="2147485323" r:id="rId18"/>
    <p:sldLayoutId id="2147485324" r:id="rId19"/>
    <p:sldLayoutId id="2147485325" r:id="rId20"/>
    <p:sldLayoutId id="2147485326" r:id="rId21"/>
    <p:sldLayoutId id="2147485327" r:id="rId22"/>
    <p:sldLayoutId id="2147485328" r:id="rId23"/>
    <p:sldLayoutId id="2147485329" r:id="rId24"/>
    <p:sldLayoutId id="2147485330" r:id="rId25"/>
    <p:sldLayoutId id="2147485331" r:id="rId26"/>
    <p:sldLayoutId id="2147485332" r:id="rId27"/>
    <p:sldLayoutId id="2147485333" r:id="rId28"/>
    <p:sldLayoutId id="2147485334" r:id="rId29"/>
    <p:sldLayoutId id="2147485335" r:id="rId30"/>
    <p:sldLayoutId id="2147485336" r:id="rId31"/>
    <p:sldLayoutId id="2147485337" r:id="rId32"/>
    <p:sldLayoutId id="2147485338" r:id="rId33"/>
    <p:sldLayoutId id="2147485339" r:id="rId34"/>
    <p:sldLayoutId id="2147485340" r:id="rId35"/>
    <p:sldLayoutId id="2147485341" r:id="rId36"/>
    <p:sldLayoutId id="2147485342" r:id="rId37"/>
    <p:sldLayoutId id="2147485343" r:id="rId38"/>
    <p:sldLayoutId id="2147485344" r:id="rId39"/>
    <p:sldLayoutId id="2147485345" r:id="rId40"/>
    <p:sldLayoutId id="2147485346" r:id="rId41"/>
    <p:sldLayoutId id="2147485347" r:id="rId42"/>
    <p:sldLayoutId id="2147485348" r:id="rId43"/>
    <p:sldLayoutId id="2147485349" r:id="rId44"/>
    <p:sldLayoutId id="2147485350" r:id="rId45"/>
    <p:sldLayoutId id="2147485351" r:id="rId46"/>
    <p:sldLayoutId id="2147485352" r:id="rId47"/>
    <p:sldLayoutId id="2147485353" r:id="rId48"/>
    <p:sldLayoutId id="2147485354" r:id="rId49"/>
    <p:sldLayoutId id="2147485355" r:id="rId50"/>
    <p:sldLayoutId id="2147485356" r:id="rId51"/>
    <p:sldLayoutId id="2147485357" r:id="rId52"/>
    <p:sldLayoutId id="2147485358" r:id="rId53"/>
    <p:sldLayoutId id="2147485359" r:id="rId54"/>
    <p:sldLayoutId id="2147485360" r:id="rId55"/>
    <p:sldLayoutId id="2147485361" r:id="rId56"/>
    <p:sldLayoutId id="2147485362" r:id="rId57"/>
    <p:sldLayoutId id="2147485363" r:id="rId58"/>
    <p:sldLayoutId id="2147485364" r:id="rId59"/>
    <p:sldLayoutId id="2147485365" r:id="rId60"/>
    <p:sldLayoutId id="2147485366" r:id="rId61"/>
    <p:sldLayoutId id="2147485367" r:id="rId62"/>
    <p:sldLayoutId id="2147485368" r:id="rId63"/>
    <p:sldLayoutId id="2147485369" r:id="rId64"/>
    <p:sldLayoutId id="2147485370" r:id="rId65"/>
    <p:sldLayoutId id="2147485371" r:id="rId66"/>
    <p:sldLayoutId id="2147485372" r:id="rId67"/>
    <p:sldLayoutId id="2147485373" r:id="rId68"/>
    <p:sldLayoutId id="2147485374" r:id="rId69"/>
    <p:sldLayoutId id="2147485375" r:id="rId70"/>
    <p:sldLayoutId id="2147485376" r:id="rId71"/>
    <p:sldLayoutId id="2147485377" r:id="rId72"/>
    <p:sldLayoutId id="2147485378" r:id="rId73"/>
    <p:sldLayoutId id="2147485379" r:id="rId74"/>
    <p:sldLayoutId id="2147485380" r:id="rId75"/>
    <p:sldLayoutId id="2147485381" r:id="rId76"/>
    <p:sldLayoutId id="2147485382" r:id="rId77"/>
    <p:sldLayoutId id="2147485383" r:id="rId78"/>
    <p:sldLayoutId id="2147485384" r:id="rId79"/>
    <p:sldLayoutId id="2147485385" r:id="rId80"/>
    <p:sldLayoutId id="2147485386" r:id="rId81"/>
    <p:sldLayoutId id="2147485387" r:id="rId82"/>
    <p:sldLayoutId id="2147485388" r:id="rId83"/>
    <p:sldLayoutId id="2147485389" r:id="rId84"/>
    <p:sldLayoutId id="2147485390" r:id="rId85"/>
    <p:sldLayoutId id="2147485391" r:id="rId86"/>
    <p:sldLayoutId id="2147485392" r:id="rId87"/>
    <p:sldLayoutId id="2147485393" r:id="rId88"/>
    <p:sldLayoutId id="2147485394" r:id="rId89"/>
    <p:sldLayoutId id="2147485395" r:id="rId90"/>
    <p:sldLayoutId id="2147485396" r:id="rId91"/>
    <p:sldLayoutId id="2147485397" r:id="rId92"/>
    <p:sldLayoutId id="2147485398" r:id="rId93"/>
  </p:sldLayoutIdLst>
  <p:hf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3" indent="-85723" algn="l" defTabSz="914377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63" indent="-314317" algn="l" defTabSz="914377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57" indent="-171446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0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31" indent="-228594" algn="l" defTabSz="914377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1" kern="1200">
          <a:solidFill>
            <a:schemeClr val="bg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2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45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15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5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4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5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tiff"/><Relationship Id="rId1" Type="http://schemas.openxmlformats.org/officeDocument/2006/relationships/slideLayout" Target="../slideLayouts/slideLayout45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4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6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1" descr="A blue light swirls on a planet&#10;&#10;Description automatically generated">
            <a:extLst>
              <a:ext uri="{FF2B5EF4-FFF2-40B4-BE49-F238E27FC236}">
                <a16:creationId xmlns:a16="http://schemas.microsoft.com/office/drawing/2014/main" id="{FB8E5BCA-5C5C-54FC-5DFF-74B8D0BC5B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8" name="Title 27">
            <a:extLst>
              <a:ext uri="{FF2B5EF4-FFF2-40B4-BE49-F238E27FC236}">
                <a16:creationId xmlns:a16="http://schemas.microsoft.com/office/drawing/2014/main" id="{D455DA22-A3EC-03B6-4265-094F25A31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502586" cy="715669"/>
          </a:xfrm>
        </p:spPr>
        <p:txBody>
          <a:bodyPr/>
          <a:lstStyle/>
          <a:p>
            <a:r>
              <a:rPr lang="en-GB" dirty="0"/>
              <a:t>Catalysts of change</a:t>
            </a:r>
            <a:endParaRPr lang="en-GB" b="0" dirty="0">
              <a:latin typeface="+mn-lt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2C4906E-F7A3-758E-28CC-09640A042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30555" y="1477508"/>
            <a:ext cx="5039969" cy="201294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spc="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GB" sz="4800" dirty="0">
              <a:solidFill>
                <a:schemeClr val="bg1"/>
              </a:solidFill>
              <a:latin typeface="+mj-lt"/>
              <a:ea typeface="Roboto Condensed Black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4F3A8D-9A92-5B9B-6F23-8549C68387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30555" y="4167552"/>
            <a:ext cx="344660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Presented by:</a:t>
            </a:r>
            <a:br>
              <a:rPr lang="en-GB" sz="2000" dirty="0">
                <a:solidFill>
                  <a:schemeClr val="bg1"/>
                </a:solidFill>
              </a:rPr>
            </a:br>
            <a:r>
              <a:rPr lang="en-GB" sz="2000" dirty="0">
                <a:solidFill>
                  <a:schemeClr val="bg1"/>
                </a:solidFill>
              </a:rPr>
              <a:t>Darrell Bricker, Ph.D. 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E8C2CACD-E824-DE3B-60FE-427B751999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8661370" y="3324649"/>
            <a:ext cx="3492560" cy="3594098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6BD1784-F3A1-1046-21F9-8FEFED56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6141078" y="431596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EC544CE-DA48-E496-5DA5-4BEDD3E456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7918192" y="5576008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60C3115-F1CF-06CE-6342-D748B9AFD6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05" y="5049929"/>
            <a:ext cx="2336553" cy="74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84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C9E38-4C69-B24B-8E35-FC14BACF0BF6}"/>
              </a:ext>
            </a:extLst>
          </p:cNvPr>
          <p:cNvCxnSpPr>
            <a:cxnSpLocks/>
          </p:cNvCxnSpPr>
          <p:nvPr/>
        </p:nvCxnSpPr>
        <p:spPr>
          <a:xfrm>
            <a:off x="324880" y="664391"/>
            <a:ext cx="1154224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81473AA-7D29-F842-91A8-A13B575909F3}"/>
              </a:ext>
            </a:extLst>
          </p:cNvPr>
          <p:cNvSpPr txBox="1"/>
          <p:nvPr/>
        </p:nvSpPr>
        <p:spPr>
          <a:xfrm>
            <a:off x="378466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PTY PLAN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CFD01F-51FC-A148-86BC-C64A2377761A}"/>
              </a:ext>
            </a:extLst>
          </p:cNvPr>
          <p:cNvSpPr txBox="1"/>
          <p:nvPr/>
        </p:nvSpPr>
        <p:spPr>
          <a:xfrm>
            <a:off x="8744872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88D79B-B205-ED4F-8C89-B0B5045CD1F4}"/>
              </a:ext>
            </a:extLst>
          </p:cNvPr>
          <p:cNvSpPr txBox="1"/>
          <p:nvPr/>
        </p:nvSpPr>
        <p:spPr>
          <a:xfrm>
            <a:off x="378463" y="1290600"/>
            <a:ext cx="92054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p 10 Countries by Population 2017 vs 2100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E699570A-E7BE-614C-9B6E-7062DC4D5BF4}"/>
              </a:ext>
            </a:extLst>
          </p:cNvPr>
          <p:cNvGraphicFramePr>
            <a:graphicFrameLocks noGrp="1"/>
          </p:cNvGraphicFramePr>
          <p:nvPr/>
        </p:nvGraphicFramePr>
        <p:xfrm>
          <a:off x="378464" y="2499019"/>
          <a:ext cx="3599979" cy="35569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9095">
                  <a:extLst>
                    <a:ext uri="{9D8B030D-6E8A-4147-A177-3AD203B41FA5}">
                      <a16:colId xmlns:a16="http://schemas.microsoft.com/office/drawing/2014/main" val="3813847266"/>
                    </a:ext>
                  </a:extLst>
                </a:gridCol>
                <a:gridCol w="1860884">
                  <a:extLst>
                    <a:ext uri="{9D8B030D-6E8A-4147-A177-3AD203B41FA5}">
                      <a16:colId xmlns:a16="http://schemas.microsoft.com/office/drawing/2014/main" val="1918526524"/>
                    </a:ext>
                  </a:extLst>
                </a:gridCol>
              </a:tblGrid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China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.40B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148336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Ind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.38B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903154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U.S.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325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353155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Indones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58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8081710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Pakistan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14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011729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Brazil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12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5411885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Niger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06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624849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Bangladesh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57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418156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Russ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46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699401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Japan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28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8908704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6121242B-871A-F441-BA69-BFFE691010DA}"/>
              </a:ext>
            </a:extLst>
          </p:cNvPr>
          <p:cNvSpPr txBox="1"/>
          <p:nvPr/>
        </p:nvSpPr>
        <p:spPr>
          <a:xfrm>
            <a:off x="378466" y="6394375"/>
            <a:ext cx="108725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ncet July 14, 2020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3CAFA8-5201-2947-8490-B2C64CED9DAC}"/>
              </a:ext>
            </a:extLst>
          </p:cNvPr>
          <p:cNvSpPr/>
          <p:nvPr/>
        </p:nvSpPr>
        <p:spPr>
          <a:xfrm>
            <a:off x="378465" y="2044093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17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580A2-5033-114D-84F4-BFB2B27D41E1}"/>
              </a:ext>
            </a:extLst>
          </p:cNvPr>
          <p:cNvSpPr/>
          <p:nvPr/>
        </p:nvSpPr>
        <p:spPr>
          <a:xfrm>
            <a:off x="4844833" y="2044093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100</a:t>
            </a:r>
          </a:p>
        </p:txBody>
      </p:sp>
      <p:graphicFrame>
        <p:nvGraphicFramePr>
          <p:cNvPr id="24" name="Table 4">
            <a:extLst>
              <a:ext uri="{FF2B5EF4-FFF2-40B4-BE49-F238E27FC236}">
                <a16:creationId xmlns:a16="http://schemas.microsoft.com/office/drawing/2014/main" id="{E5CC049F-48DB-C342-BB22-F14FDA95E49D}"/>
              </a:ext>
            </a:extLst>
          </p:cNvPr>
          <p:cNvGraphicFramePr>
            <a:graphicFrameLocks noGrp="1"/>
          </p:cNvGraphicFramePr>
          <p:nvPr/>
        </p:nvGraphicFramePr>
        <p:xfrm>
          <a:off x="4943422" y="2503559"/>
          <a:ext cx="5335781" cy="35569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87221">
                  <a:extLst>
                    <a:ext uri="{9D8B030D-6E8A-4147-A177-3AD203B41FA5}">
                      <a16:colId xmlns:a16="http://schemas.microsoft.com/office/drawing/2014/main" val="3813847266"/>
                    </a:ext>
                  </a:extLst>
                </a:gridCol>
                <a:gridCol w="1730300">
                  <a:extLst>
                    <a:ext uri="{9D8B030D-6E8A-4147-A177-3AD203B41FA5}">
                      <a16:colId xmlns:a16="http://schemas.microsoft.com/office/drawing/2014/main" val="1918526524"/>
                    </a:ext>
                  </a:extLst>
                </a:gridCol>
                <a:gridCol w="1818260">
                  <a:extLst>
                    <a:ext uri="{9D8B030D-6E8A-4147-A177-3AD203B41FA5}">
                      <a16:colId xmlns:a16="http://schemas.microsoft.com/office/drawing/2014/main" val="2405917566"/>
                    </a:ext>
                  </a:extLst>
                </a:gridCol>
              </a:tblGrid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India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.09B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90M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148336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Niger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791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585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903154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Chin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732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668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353155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US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336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1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8081710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Pakistan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48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34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011729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DR Congo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46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65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5411885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Indones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29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9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624849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Ethiopia</a:t>
                      </a:r>
                      <a:r>
                        <a:rPr lang="en-US" sz="16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223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20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418156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Egypt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99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03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699401"/>
                  </a:ext>
                </a:extLst>
              </a:tr>
              <a:tr h="355697">
                <a:tc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</a:rPr>
                        <a:t>Tanzania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86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</a:rPr>
                        <a:t>132M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B96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8908704"/>
                  </a:ext>
                </a:extLst>
              </a:tr>
            </a:tbl>
          </a:graphicData>
        </a:graphic>
      </p:graphicFrame>
      <p:sp>
        <p:nvSpPr>
          <p:cNvPr id="5" name="Up Arrow 4">
            <a:extLst>
              <a:ext uri="{FF2B5EF4-FFF2-40B4-BE49-F238E27FC236}">
                <a16:creationId xmlns:a16="http://schemas.microsoft.com/office/drawing/2014/main" id="{E994D26A-37AE-8844-AFF3-C98546CBBAA3}"/>
              </a:ext>
            </a:extLst>
          </p:cNvPr>
          <p:cNvSpPr/>
          <p:nvPr/>
        </p:nvSpPr>
        <p:spPr>
          <a:xfrm rot="10800000">
            <a:off x="8342988" y="2617809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Up Arrow 11">
            <a:extLst>
              <a:ext uri="{FF2B5EF4-FFF2-40B4-BE49-F238E27FC236}">
                <a16:creationId xmlns:a16="http://schemas.microsoft.com/office/drawing/2014/main" id="{7C209983-ECD8-1749-84EE-B31AE733457F}"/>
              </a:ext>
            </a:extLst>
          </p:cNvPr>
          <p:cNvSpPr/>
          <p:nvPr/>
        </p:nvSpPr>
        <p:spPr>
          <a:xfrm>
            <a:off x="8342988" y="4384533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Up Arrow 12">
            <a:extLst>
              <a:ext uri="{FF2B5EF4-FFF2-40B4-BE49-F238E27FC236}">
                <a16:creationId xmlns:a16="http://schemas.microsoft.com/office/drawing/2014/main" id="{C14B76F6-7163-D54D-8145-A081C3B15EBF}"/>
              </a:ext>
            </a:extLst>
          </p:cNvPr>
          <p:cNvSpPr/>
          <p:nvPr/>
        </p:nvSpPr>
        <p:spPr>
          <a:xfrm>
            <a:off x="8342988" y="2971153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Up Arrow 13">
            <a:extLst>
              <a:ext uri="{FF2B5EF4-FFF2-40B4-BE49-F238E27FC236}">
                <a16:creationId xmlns:a16="http://schemas.microsoft.com/office/drawing/2014/main" id="{6EDC9C59-1F25-8E4A-A020-2528457303D0}"/>
              </a:ext>
            </a:extLst>
          </p:cNvPr>
          <p:cNvSpPr/>
          <p:nvPr/>
        </p:nvSpPr>
        <p:spPr>
          <a:xfrm>
            <a:off x="8342988" y="5091224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Up Arrow 14">
            <a:extLst>
              <a:ext uri="{FF2B5EF4-FFF2-40B4-BE49-F238E27FC236}">
                <a16:creationId xmlns:a16="http://schemas.microsoft.com/office/drawing/2014/main" id="{4F6E984C-D957-394D-BC4F-ADD922498D06}"/>
              </a:ext>
            </a:extLst>
          </p:cNvPr>
          <p:cNvSpPr/>
          <p:nvPr/>
        </p:nvSpPr>
        <p:spPr>
          <a:xfrm>
            <a:off x="8342988" y="5797912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Up Arrow 16">
            <a:extLst>
              <a:ext uri="{FF2B5EF4-FFF2-40B4-BE49-F238E27FC236}">
                <a16:creationId xmlns:a16="http://schemas.microsoft.com/office/drawing/2014/main" id="{C0D12BBC-AD69-5748-B244-7FB26BCF3E99}"/>
              </a:ext>
            </a:extLst>
          </p:cNvPr>
          <p:cNvSpPr/>
          <p:nvPr/>
        </p:nvSpPr>
        <p:spPr>
          <a:xfrm rot="10800000">
            <a:off x="8342988" y="3324499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Up Arrow 19">
            <a:extLst>
              <a:ext uri="{FF2B5EF4-FFF2-40B4-BE49-F238E27FC236}">
                <a16:creationId xmlns:a16="http://schemas.microsoft.com/office/drawing/2014/main" id="{370E43B6-BAB9-AA4C-B4E1-7F01CFE0128A}"/>
              </a:ext>
            </a:extLst>
          </p:cNvPr>
          <p:cNvSpPr/>
          <p:nvPr/>
        </p:nvSpPr>
        <p:spPr>
          <a:xfrm rot="10800000">
            <a:off x="8342988" y="4737879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Up Arrow 24">
            <a:extLst>
              <a:ext uri="{FF2B5EF4-FFF2-40B4-BE49-F238E27FC236}">
                <a16:creationId xmlns:a16="http://schemas.microsoft.com/office/drawing/2014/main" id="{6F532069-1B92-D745-8BAF-0A75CB1D7194}"/>
              </a:ext>
            </a:extLst>
          </p:cNvPr>
          <p:cNvSpPr/>
          <p:nvPr/>
        </p:nvSpPr>
        <p:spPr>
          <a:xfrm>
            <a:off x="8342988" y="4031189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Up Arrow 25">
            <a:extLst>
              <a:ext uri="{FF2B5EF4-FFF2-40B4-BE49-F238E27FC236}">
                <a16:creationId xmlns:a16="http://schemas.microsoft.com/office/drawing/2014/main" id="{223E412F-34EE-4848-BF44-5AACD2F88987}"/>
              </a:ext>
            </a:extLst>
          </p:cNvPr>
          <p:cNvSpPr/>
          <p:nvPr/>
        </p:nvSpPr>
        <p:spPr>
          <a:xfrm>
            <a:off x="8342988" y="3677844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Up Arrow 26">
            <a:extLst>
              <a:ext uri="{FF2B5EF4-FFF2-40B4-BE49-F238E27FC236}">
                <a16:creationId xmlns:a16="http://schemas.microsoft.com/office/drawing/2014/main" id="{B3798254-F1B8-A646-9AC5-38BCED200DDD}"/>
              </a:ext>
            </a:extLst>
          </p:cNvPr>
          <p:cNvSpPr/>
          <p:nvPr/>
        </p:nvSpPr>
        <p:spPr>
          <a:xfrm>
            <a:off x="8342988" y="5444569"/>
            <a:ext cx="135819" cy="155795"/>
          </a:xfrm>
          <a:prstGeom prst="upArrow">
            <a:avLst>
              <a:gd name="adj1" fmla="val 26167"/>
              <a:gd name="adj2" fmla="val 603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133870"/>
      </p:ext>
    </p:extLst>
  </p:cSld>
  <p:clrMapOvr>
    <a:masterClrMapping/>
  </p:clrMapOvr>
  <p:transition spd="slow"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D7F1F64-C178-4DFB-A98F-25B8F393F5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5200" y="127000"/>
            <a:ext cx="10261600" cy="6604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E3ACB1B-D751-6014-C650-5FF596FAFD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3324" y="1887745"/>
            <a:ext cx="804741" cy="53649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BA9E32-9A15-8DAF-268E-2BD645AAAD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5839" y="3916735"/>
            <a:ext cx="739712" cy="536495"/>
          </a:xfrm>
          <a:prstGeom prst="rect">
            <a:avLst/>
          </a:prstGeom>
        </p:spPr>
      </p:pic>
      <p:sp>
        <p:nvSpPr>
          <p:cNvPr id="10" name="Arrow: Left 9">
            <a:extLst>
              <a:ext uri="{FF2B5EF4-FFF2-40B4-BE49-F238E27FC236}">
                <a16:creationId xmlns:a16="http://schemas.microsoft.com/office/drawing/2014/main" id="{455C69BF-D572-B94E-B2A5-E3C35A7E66B7}"/>
              </a:ext>
            </a:extLst>
          </p:cNvPr>
          <p:cNvSpPr/>
          <p:nvPr/>
        </p:nvSpPr>
        <p:spPr>
          <a:xfrm>
            <a:off x="10508065" y="2949072"/>
            <a:ext cx="1304544" cy="646176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2345"/>
            <a:r>
              <a:rPr lang="en-US" sz="2400" dirty="0">
                <a:solidFill>
                  <a:srgbClr val="FF0000"/>
                </a:solidFill>
                <a:latin typeface="Calibri" panose="020F0502020204030204"/>
              </a:rPr>
              <a:t>51M</a:t>
            </a:r>
          </a:p>
        </p:txBody>
      </p:sp>
    </p:spTree>
    <p:extLst>
      <p:ext uri="{BB962C8B-B14F-4D97-AF65-F5344CB8AC3E}">
        <p14:creationId xmlns:p14="http://schemas.microsoft.com/office/powerpoint/2010/main" val="3911357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3B429-1ABE-42DA-9076-DE5DE8313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99" y="789941"/>
            <a:ext cx="11299088" cy="715669"/>
          </a:xfrm>
        </p:spPr>
        <p:txBody>
          <a:bodyPr/>
          <a:lstStyle/>
          <a:p>
            <a:r>
              <a:rPr lang="en-CA" dirty="0"/>
              <a:t>Why is This Happening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7E3539-D776-BDFA-4497-C38C32CBE0FF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  <p:sp>
        <p:nvSpPr>
          <p:cNvPr id="4" name="Snip Single Corner Rectangle 3">
            <a:extLst>
              <a:ext uri="{FF2B5EF4-FFF2-40B4-BE49-F238E27FC236}">
                <a16:creationId xmlns:a16="http://schemas.microsoft.com/office/drawing/2014/main" id="{AC5AF86F-2EDE-AFA2-420D-DAA70D962FE1}"/>
              </a:ext>
            </a:extLst>
          </p:cNvPr>
          <p:cNvSpPr/>
          <p:nvPr/>
        </p:nvSpPr>
        <p:spPr>
          <a:xfrm flipV="1">
            <a:off x="449999" y="2074985"/>
            <a:ext cx="3184155" cy="3106615"/>
          </a:xfrm>
          <a:prstGeom prst="snip1Rect">
            <a:avLst/>
          </a:prstGeom>
          <a:solidFill>
            <a:schemeClr val="bg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5" name="Snip Single Corner Rectangle 4">
            <a:extLst>
              <a:ext uri="{FF2B5EF4-FFF2-40B4-BE49-F238E27FC236}">
                <a16:creationId xmlns:a16="http://schemas.microsoft.com/office/drawing/2014/main" id="{BA2CDFCF-36BB-C1E3-359A-92CEF992D6BE}"/>
              </a:ext>
            </a:extLst>
          </p:cNvPr>
          <p:cNvSpPr/>
          <p:nvPr/>
        </p:nvSpPr>
        <p:spPr>
          <a:xfrm flipV="1">
            <a:off x="4503922" y="2074985"/>
            <a:ext cx="3184155" cy="3106615"/>
          </a:xfrm>
          <a:prstGeom prst="snip1Rect">
            <a:avLst/>
          </a:prstGeom>
          <a:solidFill>
            <a:schemeClr val="bg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6" name="Snip Single Corner Rectangle 5">
            <a:extLst>
              <a:ext uri="{FF2B5EF4-FFF2-40B4-BE49-F238E27FC236}">
                <a16:creationId xmlns:a16="http://schemas.microsoft.com/office/drawing/2014/main" id="{E2F34E74-1825-8E7A-8234-CCD5D3CD5E86}"/>
              </a:ext>
            </a:extLst>
          </p:cNvPr>
          <p:cNvSpPr/>
          <p:nvPr/>
        </p:nvSpPr>
        <p:spPr>
          <a:xfrm flipV="1">
            <a:off x="8557846" y="2074985"/>
            <a:ext cx="3184155" cy="3106615"/>
          </a:xfrm>
          <a:prstGeom prst="snip1Rect">
            <a:avLst/>
          </a:prstGeom>
          <a:solidFill>
            <a:schemeClr val="bg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67AC00-F9E9-CE6B-2A8F-70E89C780C2C}"/>
              </a:ext>
            </a:extLst>
          </p:cNvPr>
          <p:cNvSpPr txBox="1"/>
          <p:nvPr/>
        </p:nvSpPr>
        <p:spPr>
          <a:xfrm>
            <a:off x="449999" y="4167523"/>
            <a:ext cx="3184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2800" b="1" dirty="0">
                <a:solidFill>
                  <a:schemeClr val="bg2"/>
                </a:solidFill>
                <a:latin typeface="Barlow" pitchFamily="2" charset="77"/>
                <a:cs typeface="Arial" panose="020B0604020202020204" pitchFamily="34" charset="0"/>
              </a:rPr>
              <a:t>Urbanization</a:t>
            </a:r>
          </a:p>
        </p:txBody>
      </p:sp>
      <p:sp>
        <p:nvSpPr>
          <p:cNvPr id="8" name="Freeform 13">
            <a:extLst>
              <a:ext uri="{FF2B5EF4-FFF2-40B4-BE49-F238E27FC236}">
                <a16:creationId xmlns:a16="http://schemas.microsoft.com/office/drawing/2014/main" id="{649BB35F-D286-5DD6-A867-274F7B13EC6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43375" y="2703040"/>
            <a:ext cx="1197403" cy="1197955"/>
          </a:xfrm>
          <a:custGeom>
            <a:avLst/>
            <a:gdLst>
              <a:gd name="T0" fmla="*/ 6653 w 7198"/>
              <a:gd name="T1" fmla="*/ 2217 h 7200"/>
              <a:gd name="T2" fmla="*/ 3920 w 7198"/>
              <a:gd name="T3" fmla="*/ 1738 h 7200"/>
              <a:gd name="T4" fmla="*/ 3979 w 7198"/>
              <a:gd name="T5" fmla="*/ 547 h 7200"/>
              <a:gd name="T6" fmla="*/ 545 w 7198"/>
              <a:gd name="T7" fmla="*/ 0 h 7200"/>
              <a:gd name="T8" fmla="*/ 270 w 7198"/>
              <a:gd name="T9" fmla="*/ 654 h 7200"/>
              <a:gd name="T10" fmla="*/ 108 w 7198"/>
              <a:gd name="T11" fmla="*/ 6980 h 7200"/>
              <a:gd name="T12" fmla="*/ 3812 w 7198"/>
              <a:gd name="T13" fmla="*/ 7200 h 7200"/>
              <a:gd name="T14" fmla="*/ 7090 w 7198"/>
              <a:gd name="T15" fmla="*/ 6980 h 7200"/>
              <a:gd name="T16" fmla="*/ 3920 w 7198"/>
              <a:gd name="T17" fmla="*/ 1959 h 7200"/>
              <a:gd name="T18" fmla="*/ 3703 w 7198"/>
              <a:gd name="T19" fmla="*/ 547 h 7200"/>
              <a:gd name="T20" fmla="*/ 3703 w 7198"/>
              <a:gd name="T21" fmla="*/ 764 h 7200"/>
              <a:gd name="T22" fmla="*/ 654 w 7198"/>
              <a:gd name="T23" fmla="*/ 6980 h 7200"/>
              <a:gd name="T24" fmla="*/ 5942 w 7198"/>
              <a:gd name="T25" fmla="*/ 2435 h 7200"/>
              <a:gd name="T26" fmla="*/ 1471 w 7198"/>
              <a:gd name="T27" fmla="*/ 1217 h 7200"/>
              <a:gd name="T28" fmla="*/ 1253 w 7198"/>
              <a:gd name="T29" fmla="*/ 1217 h 7200"/>
              <a:gd name="T30" fmla="*/ 2287 w 7198"/>
              <a:gd name="T31" fmla="*/ 6216 h 7200"/>
              <a:gd name="T32" fmla="*/ 2178 w 7198"/>
              <a:gd name="T33" fmla="*/ 1107 h 7200"/>
              <a:gd name="T34" fmla="*/ 2994 w 7198"/>
              <a:gd name="T35" fmla="*/ 6326 h 7200"/>
              <a:gd name="T36" fmla="*/ 3104 w 7198"/>
              <a:gd name="T37" fmla="*/ 1217 h 7200"/>
              <a:gd name="T38" fmla="*/ 4523 w 7198"/>
              <a:gd name="T39" fmla="*/ 3040 h 7200"/>
              <a:gd name="T40" fmla="*/ 4598 w 7198"/>
              <a:gd name="T41" fmla="*/ 2852 h 7200"/>
              <a:gd name="T42" fmla="*/ 4523 w 7198"/>
              <a:gd name="T43" fmla="*/ 5164 h 7200"/>
              <a:gd name="T44" fmla="*/ 4412 w 7198"/>
              <a:gd name="T45" fmla="*/ 4688 h 7200"/>
              <a:gd name="T46" fmla="*/ 4523 w 7198"/>
              <a:gd name="T47" fmla="*/ 3626 h 7200"/>
              <a:gd name="T48" fmla="*/ 4631 w 7198"/>
              <a:gd name="T49" fmla="*/ 4102 h 7200"/>
              <a:gd name="T50" fmla="*/ 4631 w 7198"/>
              <a:gd name="T51" fmla="*/ 4102 h 7200"/>
              <a:gd name="T52" fmla="*/ 4523 w 7198"/>
              <a:gd name="T53" fmla="*/ 5750 h 7200"/>
              <a:gd name="T54" fmla="*/ 4598 w 7198"/>
              <a:gd name="T55" fmla="*/ 6520 h 7200"/>
              <a:gd name="T56" fmla="*/ 4445 w 7198"/>
              <a:gd name="T57" fmla="*/ 6368 h 7200"/>
              <a:gd name="T58" fmla="*/ 5155 w 7198"/>
              <a:gd name="T59" fmla="*/ 2852 h 7200"/>
              <a:gd name="T60" fmla="*/ 5231 w 7198"/>
              <a:gd name="T61" fmla="*/ 3040 h 7200"/>
              <a:gd name="T62" fmla="*/ 5123 w 7198"/>
              <a:gd name="T63" fmla="*/ 4102 h 7200"/>
              <a:gd name="T64" fmla="*/ 5231 w 7198"/>
              <a:gd name="T65" fmla="*/ 3626 h 7200"/>
              <a:gd name="T66" fmla="*/ 5341 w 7198"/>
              <a:gd name="T67" fmla="*/ 5274 h 7200"/>
              <a:gd name="T68" fmla="*/ 5341 w 7198"/>
              <a:gd name="T69" fmla="*/ 5274 h 7200"/>
              <a:gd name="T70" fmla="*/ 5231 w 7198"/>
              <a:gd name="T71" fmla="*/ 4578 h 7200"/>
              <a:gd name="T72" fmla="*/ 5123 w 7198"/>
              <a:gd name="T73" fmla="*/ 5856 h 7200"/>
              <a:gd name="T74" fmla="*/ 5341 w 7198"/>
              <a:gd name="T75" fmla="*/ 6445 h 7200"/>
              <a:gd name="T76" fmla="*/ 5123 w 7198"/>
              <a:gd name="T77" fmla="*/ 6445 h 7200"/>
              <a:gd name="T78" fmla="*/ 6052 w 7198"/>
              <a:gd name="T79" fmla="*/ 2930 h 7200"/>
              <a:gd name="T80" fmla="*/ 5834 w 7198"/>
              <a:gd name="T81" fmla="*/ 2930 h 7200"/>
              <a:gd name="T82" fmla="*/ 5944 w 7198"/>
              <a:gd name="T83" fmla="*/ 5380 h 7200"/>
              <a:gd name="T84" fmla="*/ 6052 w 7198"/>
              <a:gd name="T85" fmla="*/ 4102 h 7200"/>
              <a:gd name="T86" fmla="*/ 6052 w 7198"/>
              <a:gd name="T87" fmla="*/ 4102 h 7200"/>
              <a:gd name="T88" fmla="*/ 5944 w 7198"/>
              <a:gd name="T89" fmla="*/ 4578 h 7200"/>
              <a:gd name="T90" fmla="*/ 5834 w 7198"/>
              <a:gd name="T91" fmla="*/ 3516 h 7200"/>
              <a:gd name="T92" fmla="*/ 5944 w 7198"/>
              <a:gd name="T93" fmla="*/ 5966 h 7200"/>
              <a:gd name="T94" fmla="*/ 6018 w 7198"/>
              <a:gd name="T95" fmla="*/ 6368 h 7200"/>
              <a:gd name="T96" fmla="*/ 5866 w 7198"/>
              <a:gd name="T97" fmla="*/ 6520 h 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98" h="7200">
                <a:moveTo>
                  <a:pt x="7090" y="6980"/>
                </a:moveTo>
                <a:cubicBezTo>
                  <a:pt x="6763" y="6980"/>
                  <a:pt x="6763" y="6980"/>
                  <a:pt x="6763" y="6980"/>
                </a:cubicBezTo>
                <a:cubicBezTo>
                  <a:pt x="6763" y="2328"/>
                  <a:pt x="6763" y="2328"/>
                  <a:pt x="6763" y="2328"/>
                </a:cubicBezTo>
                <a:cubicBezTo>
                  <a:pt x="6763" y="2266"/>
                  <a:pt x="6713" y="2217"/>
                  <a:pt x="6653" y="2217"/>
                </a:cubicBezTo>
                <a:cubicBezTo>
                  <a:pt x="6052" y="2217"/>
                  <a:pt x="6052" y="2217"/>
                  <a:pt x="6052" y="2217"/>
                </a:cubicBezTo>
                <a:cubicBezTo>
                  <a:pt x="6052" y="1848"/>
                  <a:pt x="6052" y="1848"/>
                  <a:pt x="6052" y="1848"/>
                </a:cubicBezTo>
                <a:cubicBezTo>
                  <a:pt x="6052" y="1790"/>
                  <a:pt x="6002" y="1738"/>
                  <a:pt x="5942" y="1738"/>
                </a:cubicBezTo>
                <a:cubicBezTo>
                  <a:pt x="3920" y="1738"/>
                  <a:pt x="3920" y="1738"/>
                  <a:pt x="3920" y="1738"/>
                </a:cubicBezTo>
                <a:cubicBezTo>
                  <a:pt x="3920" y="764"/>
                  <a:pt x="3920" y="764"/>
                  <a:pt x="3920" y="764"/>
                </a:cubicBezTo>
                <a:cubicBezTo>
                  <a:pt x="3979" y="764"/>
                  <a:pt x="3979" y="764"/>
                  <a:pt x="3979" y="764"/>
                </a:cubicBezTo>
                <a:cubicBezTo>
                  <a:pt x="4039" y="764"/>
                  <a:pt x="4087" y="715"/>
                  <a:pt x="4087" y="654"/>
                </a:cubicBezTo>
                <a:cubicBezTo>
                  <a:pt x="4087" y="592"/>
                  <a:pt x="4039" y="547"/>
                  <a:pt x="3979" y="547"/>
                </a:cubicBezTo>
                <a:cubicBezTo>
                  <a:pt x="3920" y="547"/>
                  <a:pt x="3920" y="547"/>
                  <a:pt x="3920" y="547"/>
                </a:cubicBezTo>
                <a:cubicBezTo>
                  <a:pt x="3920" y="110"/>
                  <a:pt x="3920" y="110"/>
                  <a:pt x="3920" y="110"/>
                </a:cubicBezTo>
                <a:cubicBezTo>
                  <a:pt x="3920" y="49"/>
                  <a:pt x="3872" y="0"/>
                  <a:pt x="3812" y="0"/>
                </a:cubicBezTo>
                <a:cubicBezTo>
                  <a:pt x="545" y="0"/>
                  <a:pt x="545" y="0"/>
                  <a:pt x="545" y="0"/>
                </a:cubicBezTo>
                <a:cubicBezTo>
                  <a:pt x="485" y="0"/>
                  <a:pt x="437" y="49"/>
                  <a:pt x="437" y="110"/>
                </a:cubicBezTo>
                <a:cubicBezTo>
                  <a:pt x="437" y="547"/>
                  <a:pt x="437" y="547"/>
                  <a:pt x="437" y="547"/>
                </a:cubicBezTo>
                <a:cubicBezTo>
                  <a:pt x="379" y="547"/>
                  <a:pt x="379" y="547"/>
                  <a:pt x="379" y="547"/>
                </a:cubicBezTo>
                <a:cubicBezTo>
                  <a:pt x="319" y="547"/>
                  <a:pt x="270" y="592"/>
                  <a:pt x="270" y="654"/>
                </a:cubicBezTo>
                <a:cubicBezTo>
                  <a:pt x="270" y="715"/>
                  <a:pt x="319" y="764"/>
                  <a:pt x="379" y="764"/>
                </a:cubicBezTo>
                <a:cubicBezTo>
                  <a:pt x="437" y="764"/>
                  <a:pt x="437" y="764"/>
                  <a:pt x="437" y="764"/>
                </a:cubicBezTo>
                <a:cubicBezTo>
                  <a:pt x="437" y="6980"/>
                  <a:pt x="437" y="6980"/>
                  <a:pt x="437" y="6980"/>
                </a:cubicBezTo>
                <a:cubicBezTo>
                  <a:pt x="108" y="6980"/>
                  <a:pt x="108" y="6980"/>
                  <a:pt x="108" y="6980"/>
                </a:cubicBezTo>
                <a:cubicBezTo>
                  <a:pt x="48" y="6980"/>
                  <a:pt x="0" y="7028"/>
                  <a:pt x="0" y="7090"/>
                </a:cubicBezTo>
                <a:cubicBezTo>
                  <a:pt x="0" y="7151"/>
                  <a:pt x="48" y="7200"/>
                  <a:pt x="108" y="7200"/>
                </a:cubicBezTo>
                <a:cubicBezTo>
                  <a:pt x="545" y="7200"/>
                  <a:pt x="545" y="7200"/>
                  <a:pt x="545" y="7200"/>
                </a:cubicBezTo>
                <a:cubicBezTo>
                  <a:pt x="3812" y="7200"/>
                  <a:pt x="3812" y="7200"/>
                  <a:pt x="3812" y="7200"/>
                </a:cubicBezTo>
                <a:cubicBezTo>
                  <a:pt x="6653" y="7200"/>
                  <a:pt x="6653" y="7200"/>
                  <a:pt x="6653" y="7200"/>
                </a:cubicBezTo>
                <a:cubicBezTo>
                  <a:pt x="7090" y="7200"/>
                  <a:pt x="7090" y="7200"/>
                  <a:pt x="7090" y="7200"/>
                </a:cubicBezTo>
                <a:cubicBezTo>
                  <a:pt x="7149" y="7200"/>
                  <a:pt x="7198" y="7151"/>
                  <a:pt x="7198" y="7090"/>
                </a:cubicBezTo>
                <a:cubicBezTo>
                  <a:pt x="7198" y="7028"/>
                  <a:pt x="7149" y="6980"/>
                  <a:pt x="7090" y="6980"/>
                </a:cubicBezTo>
                <a:close/>
                <a:moveTo>
                  <a:pt x="5834" y="1959"/>
                </a:moveTo>
                <a:cubicBezTo>
                  <a:pt x="5834" y="2217"/>
                  <a:pt x="5834" y="2217"/>
                  <a:pt x="5834" y="2217"/>
                </a:cubicBezTo>
                <a:cubicBezTo>
                  <a:pt x="3920" y="2217"/>
                  <a:pt x="3920" y="2217"/>
                  <a:pt x="3920" y="2217"/>
                </a:cubicBezTo>
                <a:cubicBezTo>
                  <a:pt x="3920" y="1959"/>
                  <a:pt x="3920" y="1959"/>
                  <a:pt x="3920" y="1959"/>
                </a:cubicBezTo>
                <a:lnTo>
                  <a:pt x="5834" y="1959"/>
                </a:lnTo>
                <a:close/>
                <a:moveTo>
                  <a:pt x="654" y="220"/>
                </a:moveTo>
                <a:cubicBezTo>
                  <a:pt x="3703" y="220"/>
                  <a:pt x="3703" y="220"/>
                  <a:pt x="3703" y="220"/>
                </a:cubicBezTo>
                <a:cubicBezTo>
                  <a:pt x="3703" y="547"/>
                  <a:pt x="3703" y="547"/>
                  <a:pt x="3703" y="547"/>
                </a:cubicBezTo>
                <a:cubicBezTo>
                  <a:pt x="654" y="547"/>
                  <a:pt x="654" y="547"/>
                  <a:pt x="654" y="547"/>
                </a:cubicBezTo>
                <a:lnTo>
                  <a:pt x="654" y="220"/>
                </a:lnTo>
                <a:close/>
                <a:moveTo>
                  <a:pt x="654" y="764"/>
                </a:moveTo>
                <a:cubicBezTo>
                  <a:pt x="3703" y="764"/>
                  <a:pt x="3703" y="764"/>
                  <a:pt x="3703" y="764"/>
                </a:cubicBezTo>
                <a:cubicBezTo>
                  <a:pt x="3703" y="1848"/>
                  <a:pt x="3703" y="1848"/>
                  <a:pt x="3703" y="1848"/>
                </a:cubicBezTo>
                <a:cubicBezTo>
                  <a:pt x="3703" y="2328"/>
                  <a:pt x="3703" y="2328"/>
                  <a:pt x="3703" y="2328"/>
                </a:cubicBezTo>
                <a:cubicBezTo>
                  <a:pt x="3703" y="6980"/>
                  <a:pt x="3703" y="6980"/>
                  <a:pt x="3703" y="6980"/>
                </a:cubicBezTo>
                <a:cubicBezTo>
                  <a:pt x="654" y="6980"/>
                  <a:pt x="654" y="6980"/>
                  <a:pt x="654" y="6980"/>
                </a:cubicBezTo>
                <a:lnTo>
                  <a:pt x="654" y="764"/>
                </a:lnTo>
                <a:close/>
                <a:moveTo>
                  <a:pt x="3920" y="6980"/>
                </a:moveTo>
                <a:cubicBezTo>
                  <a:pt x="3920" y="2435"/>
                  <a:pt x="3920" y="2435"/>
                  <a:pt x="3920" y="2435"/>
                </a:cubicBezTo>
                <a:cubicBezTo>
                  <a:pt x="5942" y="2435"/>
                  <a:pt x="5942" y="2435"/>
                  <a:pt x="5942" y="2435"/>
                </a:cubicBezTo>
                <a:cubicBezTo>
                  <a:pt x="6544" y="2435"/>
                  <a:pt x="6544" y="2435"/>
                  <a:pt x="6544" y="2435"/>
                </a:cubicBezTo>
                <a:cubicBezTo>
                  <a:pt x="6544" y="6980"/>
                  <a:pt x="6544" y="6980"/>
                  <a:pt x="6544" y="6980"/>
                </a:cubicBezTo>
                <a:lnTo>
                  <a:pt x="3920" y="6980"/>
                </a:lnTo>
                <a:close/>
                <a:moveTo>
                  <a:pt x="1471" y="1217"/>
                </a:moveTo>
                <a:cubicBezTo>
                  <a:pt x="1471" y="6216"/>
                  <a:pt x="1471" y="6216"/>
                  <a:pt x="1471" y="6216"/>
                </a:cubicBezTo>
                <a:cubicBezTo>
                  <a:pt x="1471" y="6277"/>
                  <a:pt x="1421" y="6326"/>
                  <a:pt x="1361" y="6326"/>
                </a:cubicBezTo>
                <a:cubicBezTo>
                  <a:pt x="1301" y="6326"/>
                  <a:pt x="1253" y="6277"/>
                  <a:pt x="1253" y="6216"/>
                </a:cubicBezTo>
                <a:cubicBezTo>
                  <a:pt x="1253" y="1217"/>
                  <a:pt x="1253" y="1217"/>
                  <a:pt x="1253" y="1217"/>
                </a:cubicBezTo>
                <a:cubicBezTo>
                  <a:pt x="1253" y="1156"/>
                  <a:pt x="1301" y="1107"/>
                  <a:pt x="1361" y="1107"/>
                </a:cubicBezTo>
                <a:cubicBezTo>
                  <a:pt x="1421" y="1107"/>
                  <a:pt x="1471" y="1156"/>
                  <a:pt x="1471" y="1217"/>
                </a:cubicBezTo>
                <a:close/>
                <a:moveTo>
                  <a:pt x="2287" y="1217"/>
                </a:moveTo>
                <a:cubicBezTo>
                  <a:pt x="2287" y="6216"/>
                  <a:pt x="2287" y="6216"/>
                  <a:pt x="2287" y="6216"/>
                </a:cubicBezTo>
                <a:cubicBezTo>
                  <a:pt x="2287" y="6277"/>
                  <a:pt x="2238" y="6326"/>
                  <a:pt x="2178" y="6326"/>
                </a:cubicBezTo>
                <a:cubicBezTo>
                  <a:pt x="2117" y="6326"/>
                  <a:pt x="2068" y="6277"/>
                  <a:pt x="2068" y="6216"/>
                </a:cubicBezTo>
                <a:cubicBezTo>
                  <a:pt x="2068" y="1217"/>
                  <a:pt x="2068" y="1217"/>
                  <a:pt x="2068" y="1217"/>
                </a:cubicBezTo>
                <a:cubicBezTo>
                  <a:pt x="2068" y="1156"/>
                  <a:pt x="2117" y="1107"/>
                  <a:pt x="2178" y="1107"/>
                </a:cubicBezTo>
                <a:cubicBezTo>
                  <a:pt x="2238" y="1107"/>
                  <a:pt x="2287" y="1156"/>
                  <a:pt x="2287" y="1217"/>
                </a:cubicBezTo>
                <a:close/>
                <a:moveTo>
                  <a:pt x="3104" y="1217"/>
                </a:moveTo>
                <a:cubicBezTo>
                  <a:pt x="3104" y="6216"/>
                  <a:pt x="3104" y="6216"/>
                  <a:pt x="3104" y="6216"/>
                </a:cubicBezTo>
                <a:cubicBezTo>
                  <a:pt x="3104" y="6277"/>
                  <a:pt x="3056" y="6326"/>
                  <a:pt x="2994" y="6326"/>
                </a:cubicBezTo>
                <a:cubicBezTo>
                  <a:pt x="2934" y="6326"/>
                  <a:pt x="2886" y="6277"/>
                  <a:pt x="2886" y="6216"/>
                </a:cubicBezTo>
                <a:cubicBezTo>
                  <a:pt x="2886" y="1217"/>
                  <a:pt x="2886" y="1217"/>
                  <a:pt x="2886" y="1217"/>
                </a:cubicBezTo>
                <a:cubicBezTo>
                  <a:pt x="2886" y="1156"/>
                  <a:pt x="2934" y="1107"/>
                  <a:pt x="2994" y="1107"/>
                </a:cubicBezTo>
                <a:cubicBezTo>
                  <a:pt x="3056" y="1107"/>
                  <a:pt x="3104" y="1156"/>
                  <a:pt x="3104" y="1217"/>
                </a:cubicBezTo>
                <a:close/>
                <a:moveTo>
                  <a:pt x="4598" y="2852"/>
                </a:moveTo>
                <a:cubicBezTo>
                  <a:pt x="4619" y="2875"/>
                  <a:pt x="4631" y="2904"/>
                  <a:pt x="4631" y="2930"/>
                </a:cubicBezTo>
                <a:cubicBezTo>
                  <a:pt x="4631" y="2959"/>
                  <a:pt x="4619" y="2988"/>
                  <a:pt x="4598" y="3007"/>
                </a:cubicBezTo>
                <a:cubicBezTo>
                  <a:pt x="4578" y="3030"/>
                  <a:pt x="4550" y="3040"/>
                  <a:pt x="4523" y="3040"/>
                </a:cubicBezTo>
                <a:cubicBezTo>
                  <a:pt x="4493" y="3040"/>
                  <a:pt x="4464" y="3030"/>
                  <a:pt x="4445" y="3007"/>
                </a:cubicBezTo>
                <a:cubicBezTo>
                  <a:pt x="4425" y="2988"/>
                  <a:pt x="4412" y="2959"/>
                  <a:pt x="4412" y="2930"/>
                </a:cubicBezTo>
                <a:cubicBezTo>
                  <a:pt x="4412" y="2904"/>
                  <a:pt x="4425" y="2875"/>
                  <a:pt x="4445" y="2852"/>
                </a:cubicBezTo>
                <a:cubicBezTo>
                  <a:pt x="4485" y="2813"/>
                  <a:pt x="4558" y="2813"/>
                  <a:pt x="4598" y="2852"/>
                </a:cubicBezTo>
                <a:close/>
                <a:moveTo>
                  <a:pt x="4631" y="5274"/>
                </a:moveTo>
                <a:cubicBezTo>
                  <a:pt x="4631" y="5332"/>
                  <a:pt x="4581" y="5380"/>
                  <a:pt x="4523" y="5380"/>
                </a:cubicBezTo>
                <a:cubicBezTo>
                  <a:pt x="4463" y="5380"/>
                  <a:pt x="4412" y="5332"/>
                  <a:pt x="4412" y="5274"/>
                </a:cubicBezTo>
                <a:cubicBezTo>
                  <a:pt x="4412" y="5212"/>
                  <a:pt x="4463" y="5164"/>
                  <a:pt x="4523" y="5164"/>
                </a:cubicBezTo>
                <a:cubicBezTo>
                  <a:pt x="4581" y="5164"/>
                  <a:pt x="4631" y="5212"/>
                  <a:pt x="4631" y="5274"/>
                </a:cubicBezTo>
                <a:close/>
                <a:moveTo>
                  <a:pt x="4631" y="4688"/>
                </a:moveTo>
                <a:cubicBezTo>
                  <a:pt x="4631" y="4749"/>
                  <a:pt x="4581" y="4798"/>
                  <a:pt x="4523" y="4798"/>
                </a:cubicBezTo>
                <a:cubicBezTo>
                  <a:pt x="4463" y="4798"/>
                  <a:pt x="4412" y="4749"/>
                  <a:pt x="4412" y="4688"/>
                </a:cubicBezTo>
                <a:cubicBezTo>
                  <a:pt x="4412" y="4626"/>
                  <a:pt x="4463" y="4578"/>
                  <a:pt x="4523" y="4578"/>
                </a:cubicBezTo>
                <a:cubicBezTo>
                  <a:pt x="4581" y="4578"/>
                  <a:pt x="4631" y="4626"/>
                  <a:pt x="4631" y="4688"/>
                </a:cubicBezTo>
                <a:close/>
                <a:moveTo>
                  <a:pt x="4631" y="3516"/>
                </a:moveTo>
                <a:cubicBezTo>
                  <a:pt x="4631" y="3577"/>
                  <a:pt x="4581" y="3626"/>
                  <a:pt x="4523" y="3626"/>
                </a:cubicBezTo>
                <a:cubicBezTo>
                  <a:pt x="4463" y="3626"/>
                  <a:pt x="4412" y="3577"/>
                  <a:pt x="4412" y="3516"/>
                </a:cubicBezTo>
                <a:cubicBezTo>
                  <a:pt x="4412" y="3458"/>
                  <a:pt x="4463" y="3406"/>
                  <a:pt x="4523" y="3406"/>
                </a:cubicBezTo>
                <a:cubicBezTo>
                  <a:pt x="4581" y="3406"/>
                  <a:pt x="4631" y="3458"/>
                  <a:pt x="4631" y="3516"/>
                </a:cubicBezTo>
                <a:close/>
                <a:moveTo>
                  <a:pt x="4631" y="4102"/>
                </a:moveTo>
                <a:cubicBezTo>
                  <a:pt x="4631" y="4160"/>
                  <a:pt x="4581" y="4212"/>
                  <a:pt x="4523" y="4212"/>
                </a:cubicBezTo>
                <a:cubicBezTo>
                  <a:pt x="4463" y="4212"/>
                  <a:pt x="4412" y="4160"/>
                  <a:pt x="4412" y="4102"/>
                </a:cubicBezTo>
                <a:cubicBezTo>
                  <a:pt x="4412" y="4040"/>
                  <a:pt x="4463" y="3992"/>
                  <a:pt x="4523" y="3992"/>
                </a:cubicBezTo>
                <a:cubicBezTo>
                  <a:pt x="4581" y="3992"/>
                  <a:pt x="4631" y="4040"/>
                  <a:pt x="4631" y="4102"/>
                </a:cubicBezTo>
                <a:close/>
                <a:moveTo>
                  <a:pt x="4631" y="5856"/>
                </a:moveTo>
                <a:cubicBezTo>
                  <a:pt x="4631" y="5918"/>
                  <a:pt x="4581" y="5966"/>
                  <a:pt x="4523" y="5966"/>
                </a:cubicBezTo>
                <a:cubicBezTo>
                  <a:pt x="4463" y="5966"/>
                  <a:pt x="4412" y="5918"/>
                  <a:pt x="4412" y="5856"/>
                </a:cubicBezTo>
                <a:cubicBezTo>
                  <a:pt x="4412" y="5798"/>
                  <a:pt x="4463" y="5750"/>
                  <a:pt x="4523" y="5750"/>
                </a:cubicBezTo>
                <a:cubicBezTo>
                  <a:pt x="4581" y="5750"/>
                  <a:pt x="4631" y="5798"/>
                  <a:pt x="4631" y="5856"/>
                </a:cubicBezTo>
                <a:close/>
                <a:moveTo>
                  <a:pt x="4598" y="6368"/>
                </a:moveTo>
                <a:cubicBezTo>
                  <a:pt x="4619" y="6387"/>
                  <a:pt x="4631" y="6413"/>
                  <a:pt x="4631" y="6445"/>
                </a:cubicBezTo>
                <a:cubicBezTo>
                  <a:pt x="4631" y="6472"/>
                  <a:pt x="4619" y="6501"/>
                  <a:pt x="4598" y="6520"/>
                </a:cubicBezTo>
                <a:cubicBezTo>
                  <a:pt x="4578" y="6540"/>
                  <a:pt x="4551" y="6553"/>
                  <a:pt x="4523" y="6553"/>
                </a:cubicBezTo>
                <a:cubicBezTo>
                  <a:pt x="4493" y="6553"/>
                  <a:pt x="4464" y="6540"/>
                  <a:pt x="4445" y="6520"/>
                </a:cubicBezTo>
                <a:cubicBezTo>
                  <a:pt x="4425" y="6501"/>
                  <a:pt x="4412" y="6472"/>
                  <a:pt x="4412" y="6445"/>
                </a:cubicBezTo>
                <a:cubicBezTo>
                  <a:pt x="4412" y="6413"/>
                  <a:pt x="4425" y="6387"/>
                  <a:pt x="4445" y="6368"/>
                </a:cubicBezTo>
                <a:cubicBezTo>
                  <a:pt x="4485" y="6326"/>
                  <a:pt x="4558" y="6326"/>
                  <a:pt x="4598" y="6368"/>
                </a:cubicBezTo>
                <a:close/>
                <a:moveTo>
                  <a:pt x="5155" y="3007"/>
                </a:moveTo>
                <a:cubicBezTo>
                  <a:pt x="5134" y="2988"/>
                  <a:pt x="5123" y="2959"/>
                  <a:pt x="5123" y="2930"/>
                </a:cubicBezTo>
                <a:cubicBezTo>
                  <a:pt x="5123" y="2901"/>
                  <a:pt x="5134" y="2875"/>
                  <a:pt x="5155" y="2852"/>
                </a:cubicBezTo>
                <a:cubicBezTo>
                  <a:pt x="5194" y="2813"/>
                  <a:pt x="5268" y="2813"/>
                  <a:pt x="5309" y="2852"/>
                </a:cubicBezTo>
                <a:cubicBezTo>
                  <a:pt x="5330" y="2875"/>
                  <a:pt x="5341" y="2904"/>
                  <a:pt x="5341" y="2930"/>
                </a:cubicBezTo>
                <a:cubicBezTo>
                  <a:pt x="5341" y="2959"/>
                  <a:pt x="5330" y="2988"/>
                  <a:pt x="5309" y="3007"/>
                </a:cubicBezTo>
                <a:cubicBezTo>
                  <a:pt x="5290" y="3027"/>
                  <a:pt x="5261" y="3040"/>
                  <a:pt x="5231" y="3040"/>
                </a:cubicBezTo>
                <a:cubicBezTo>
                  <a:pt x="5202" y="3040"/>
                  <a:pt x="5175" y="3027"/>
                  <a:pt x="5155" y="3007"/>
                </a:cubicBezTo>
                <a:close/>
                <a:moveTo>
                  <a:pt x="5341" y="4102"/>
                </a:moveTo>
                <a:cubicBezTo>
                  <a:pt x="5341" y="4160"/>
                  <a:pt x="5293" y="4212"/>
                  <a:pt x="5231" y="4212"/>
                </a:cubicBezTo>
                <a:cubicBezTo>
                  <a:pt x="5172" y="4212"/>
                  <a:pt x="5123" y="4160"/>
                  <a:pt x="5123" y="4102"/>
                </a:cubicBezTo>
                <a:cubicBezTo>
                  <a:pt x="5123" y="4043"/>
                  <a:pt x="5172" y="3992"/>
                  <a:pt x="5231" y="3992"/>
                </a:cubicBezTo>
                <a:cubicBezTo>
                  <a:pt x="5293" y="3992"/>
                  <a:pt x="5341" y="4043"/>
                  <a:pt x="5341" y="4102"/>
                </a:cubicBezTo>
                <a:close/>
                <a:moveTo>
                  <a:pt x="5341" y="3516"/>
                </a:moveTo>
                <a:cubicBezTo>
                  <a:pt x="5341" y="3577"/>
                  <a:pt x="5293" y="3626"/>
                  <a:pt x="5231" y="3626"/>
                </a:cubicBezTo>
                <a:cubicBezTo>
                  <a:pt x="5172" y="3626"/>
                  <a:pt x="5123" y="3577"/>
                  <a:pt x="5123" y="3516"/>
                </a:cubicBezTo>
                <a:cubicBezTo>
                  <a:pt x="5123" y="3458"/>
                  <a:pt x="5172" y="3406"/>
                  <a:pt x="5231" y="3406"/>
                </a:cubicBezTo>
                <a:cubicBezTo>
                  <a:pt x="5293" y="3406"/>
                  <a:pt x="5341" y="3458"/>
                  <a:pt x="5341" y="3516"/>
                </a:cubicBezTo>
                <a:close/>
                <a:moveTo>
                  <a:pt x="5341" y="5274"/>
                </a:moveTo>
                <a:cubicBezTo>
                  <a:pt x="5341" y="5332"/>
                  <a:pt x="5293" y="5384"/>
                  <a:pt x="5231" y="5384"/>
                </a:cubicBezTo>
                <a:cubicBezTo>
                  <a:pt x="5172" y="5384"/>
                  <a:pt x="5123" y="5332"/>
                  <a:pt x="5123" y="5274"/>
                </a:cubicBezTo>
                <a:cubicBezTo>
                  <a:pt x="5123" y="5212"/>
                  <a:pt x="5172" y="5164"/>
                  <a:pt x="5231" y="5164"/>
                </a:cubicBezTo>
                <a:cubicBezTo>
                  <a:pt x="5293" y="5164"/>
                  <a:pt x="5341" y="5212"/>
                  <a:pt x="5341" y="5274"/>
                </a:cubicBezTo>
                <a:close/>
                <a:moveTo>
                  <a:pt x="5341" y="4688"/>
                </a:moveTo>
                <a:cubicBezTo>
                  <a:pt x="5341" y="4749"/>
                  <a:pt x="5293" y="4798"/>
                  <a:pt x="5231" y="4798"/>
                </a:cubicBezTo>
                <a:cubicBezTo>
                  <a:pt x="5172" y="4798"/>
                  <a:pt x="5123" y="4749"/>
                  <a:pt x="5123" y="4688"/>
                </a:cubicBezTo>
                <a:cubicBezTo>
                  <a:pt x="5123" y="4626"/>
                  <a:pt x="5172" y="4578"/>
                  <a:pt x="5231" y="4578"/>
                </a:cubicBezTo>
                <a:cubicBezTo>
                  <a:pt x="5293" y="4578"/>
                  <a:pt x="5341" y="4626"/>
                  <a:pt x="5341" y="4688"/>
                </a:cubicBezTo>
                <a:close/>
                <a:moveTo>
                  <a:pt x="5341" y="5856"/>
                </a:moveTo>
                <a:cubicBezTo>
                  <a:pt x="5341" y="5918"/>
                  <a:pt x="5293" y="5966"/>
                  <a:pt x="5231" y="5966"/>
                </a:cubicBezTo>
                <a:cubicBezTo>
                  <a:pt x="5172" y="5966"/>
                  <a:pt x="5123" y="5918"/>
                  <a:pt x="5123" y="5856"/>
                </a:cubicBezTo>
                <a:cubicBezTo>
                  <a:pt x="5123" y="5798"/>
                  <a:pt x="5172" y="5750"/>
                  <a:pt x="5231" y="5750"/>
                </a:cubicBezTo>
                <a:cubicBezTo>
                  <a:pt x="5293" y="5750"/>
                  <a:pt x="5341" y="5798"/>
                  <a:pt x="5341" y="5856"/>
                </a:cubicBezTo>
                <a:close/>
                <a:moveTo>
                  <a:pt x="5309" y="6368"/>
                </a:moveTo>
                <a:cubicBezTo>
                  <a:pt x="5330" y="6387"/>
                  <a:pt x="5341" y="6416"/>
                  <a:pt x="5341" y="6445"/>
                </a:cubicBezTo>
                <a:cubicBezTo>
                  <a:pt x="5341" y="6472"/>
                  <a:pt x="5330" y="6501"/>
                  <a:pt x="5309" y="6520"/>
                </a:cubicBezTo>
                <a:cubicBezTo>
                  <a:pt x="5290" y="6540"/>
                  <a:pt x="5261" y="6553"/>
                  <a:pt x="5231" y="6553"/>
                </a:cubicBezTo>
                <a:cubicBezTo>
                  <a:pt x="5202" y="6553"/>
                  <a:pt x="5175" y="6540"/>
                  <a:pt x="5155" y="6520"/>
                </a:cubicBezTo>
                <a:cubicBezTo>
                  <a:pt x="5134" y="6501"/>
                  <a:pt x="5123" y="6472"/>
                  <a:pt x="5123" y="6445"/>
                </a:cubicBezTo>
                <a:cubicBezTo>
                  <a:pt x="5123" y="6413"/>
                  <a:pt x="5134" y="6387"/>
                  <a:pt x="5155" y="6368"/>
                </a:cubicBezTo>
                <a:cubicBezTo>
                  <a:pt x="5194" y="6326"/>
                  <a:pt x="5268" y="6326"/>
                  <a:pt x="5309" y="6368"/>
                </a:cubicBezTo>
                <a:close/>
                <a:moveTo>
                  <a:pt x="6020" y="2855"/>
                </a:moveTo>
                <a:cubicBezTo>
                  <a:pt x="6039" y="2875"/>
                  <a:pt x="6052" y="2904"/>
                  <a:pt x="6052" y="2930"/>
                </a:cubicBezTo>
                <a:cubicBezTo>
                  <a:pt x="6052" y="2959"/>
                  <a:pt x="6039" y="2988"/>
                  <a:pt x="6020" y="3007"/>
                </a:cubicBezTo>
                <a:cubicBezTo>
                  <a:pt x="6000" y="3030"/>
                  <a:pt x="5971" y="3040"/>
                  <a:pt x="5944" y="3040"/>
                </a:cubicBezTo>
                <a:cubicBezTo>
                  <a:pt x="5915" y="3040"/>
                  <a:pt x="5885" y="3030"/>
                  <a:pt x="5866" y="3007"/>
                </a:cubicBezTo>
                <a:cubicBezTo>
                  <a:pt x="5845" y="2988"/>
                  <a:pt x="5834" y="2959"/>
                  <a:pt x="5834" y="2930"/>
                </a:cubicBezTo>
                <a:cubicBezTo>
                  <a:pt x="5834" y="2904"/>
                  <a:pt x="5845" y="2875"/>
                  <a:pt x="5866" y="2855"/>
                </a:cubicBezTo>
                <a:cubicBezTo>
                  <a:pt x="5905" y="2813"/>
                  <a:pt x="5979" y="2813"/>
                  <a:pt x="6020" y="2855"/>
                </a:cubicBezTo>
                <a:close/>
                <a:moveTo>
                  <a:pt x="6052" y="5274"/>
                </a:moveTo>
                <a:cubicBezTo>
                  <a:pt x="6052" y="5332"/>
                  <a:pt x="6002" y="5380"/>
                  <a:pt x="5944" y="5380"/>
                </a:cubicBezTo>
                <a:cubicBezTo>
                  <a:pt x="5882" y="5380"/>
                  <a:pt x="5834" y="5332"/>
                  <a:pt x="5834" y="5274"/>
                </a:cubicBezTo>
                <a:cubicBezTo>
                  <a:pt x="5834" y="5212"/>
                  <a:pt x="5882" y="5164"/>
                  <a:pt x="5944" y="5164"/>
                </a:cubicBezTo>
                <a:cubicBezTo>
                  <a:pt x="6002" y="5164"/>
                  <a:pt x="6052" y="5212"/>
                  <a:pt x="6052" y="5274"/>
                </a:cubicBezTo>
                <a:close/>
                <a:moveTo>
                  <a:pt x="6052" y="4102"/>
                </a:moveTo>
                <a:cubicBezTo>
                  <a:pt x="6052" y="4160"/>
                  <a:pt x="6002" y="4212"/>
                  <a:pt x="5944" y="4212"/>
                </a:cubicBezTo>
                <a:cubicBezTo>
                  <a:pt x="5882" y="4212"/>
                  <a:pt x="5834" y="4160"/>
                  <a:pt x="5834" y="4102"/>
                </a:cubicBezTo>
                <a:cubicBezTo>
                  <a:pt x="5834" y="4040"/>
                  <a:pt x="5882" y="3992"/>
                  <a:pt x="5944" y="3992"/>
                </a:cubicBezTo>
                <a:cubicBezTo>
                  <a:pt x="6002" y="3992"/>
                  <a:pt x="6052" y="4040"/>
                  <a:pt x="6052" y="4102"/>
                </a:cubicBezTo>
                <a:close/>
                <a:moveTo>
                  <a:pt x="6052" y="4688"/>
                </a:moveTo>
                <a:cubicBezTo>
                  <a:pt x="6052" y="4749"/>
                  <a:pt x="6002" y="4798"/>
                  <a:pt x="5944" y="4798"/>
                </a:cubicBezTo>
                <a:cubicBezTo>
                  <a:pt x="5882" y="4798"/>
                  <a:pt x="5834" y="4749"/>
                  <a:pt x="5834" y="4688"/>
                </a:cubicBezTo>
                <a:cubicBezTo>
                  <a:pt x="5834" y="4626"/>
                  <a:pt x="5882" y="4578"/>
                  <a:pt x="5944" y="4578"/>
                </a:cubicBezTo>
                <a:cubicBezTo>
                  <a:pt x="6002" y="4578"/>
                  <a:pt x="6052" y="4626"/>
                  <a:pt x="6052" y="4688"/>
                </a:cubicBezTo>
                <a:close/>
                <a:moveTo>
                  <a:pt x="6052" y="3516"/>
                </a:moveTo>
                <a:cubicBezTo>
                  <a:pt x="6052" y="3577"/>
                  <a:pt x="6002" y="3626"/>
                  <a:pt x="5944" y="3626"/>
                </a:cubicBezTo>
                <a:cubicBezTo>
                  <a:pt x="5882" y="3626"/>
                  <a:pt x="5834" y="3577"/>
                  <a:pt x="5834" y="3516"/>
                </a:cubicBezTo>
                <a:cubicBezTo>
                  <a:pt x="5834" y="3458"/>
                  <a:pt x="5882" y="3406"/>
                  <a:pt x="5944" y="3406"/>
                </a:cubicBezTo>
                <a:cubicBezTo>
                  <a:pt x="6002" y="3406"/>
                  <a:pt x="6052" y="3458"/>
                  <a:pt x="6052" y="3516"/>
                </a:cubicBezTo>
                <a:close/>
                <a:moveTo>
                  <a:pt x="6052" y="5856"/>
                </a:moveTo>
                <a:cubicBezTo>
                  <a:pt x="6052" y="5918"/>
                  <a:pt x="6002" y="5966"/>
                  <a:pt x="5944" y="5966"/>
                </a:cubicBezTo>
                <a:cubicBezTo>
                  <a:pt x="5882" y="5966"/>
                  <a:pt x="5834" y="5918"/>
                  <a:pt x="5834" y="5856"/>
                </a:cubicBezTo>
                <a:cubicBezTo>
                  <a:pt x="5834" y="5798"/>
                  <a:pt x="5882" y="5750"/>
                  <a:pt x="5944" y="5750"/>
                </a:cubicBezTo>
                <a:cubicBezTo>
                  <a:pt x="6002" y="5750"/>
                  <a:pt x="6052" y="5798"/>
                  <a:pt x="6052" y="5856"/>
                </a:cubicBezTo>
                <a:close/>
                <a:moveTo>
                  <a:pt x="6018" y="6368"/>
                </a:moveTo>
                <a:cubicBezTo>
                  <a:pt x="6039" y="6387"/>
                  <a:pt x="6052" y="6416"/>
                  <a:pt x="6052" y="6445"/>
                </a:cubicBezTo>
                <a:cubicBezTo>
                  <a:pt x="6052" y="6472"/>
                  <a:pt x="6039" y="6501"/>
                  <a:pt x="6020" y="6520"/>
                </a:cubicBezTo>
                <a:cubicBezTo>
                  <a:pt x="6000" y="6540"/>
                  <a:pt x="5971" y="6553"/>
                  <a:pt x="5944" y="6553"/>
                </a:cubicBezTo>
                <a:cubicBezTo>
                  <a:pt x="5913" y="6553"/>
                  <a:pt x="5885" y="6540"/>
                  <a:pt x="5866" y="6520"/>
                </a:cubicBezTo>
                <a:cubicBezTo>
                  <a:pt x="5845" y="6501"/>
                  <a:pt x="5834" y="6472"/>
                  <a:pt x="5834" y="6445"/>
                </a:cubicBezTo>
                <a:cubicBezTo>
                  <a:pt x="5834" y="6416"/>
                  <a:pt x="5845" y="6387"/>
                  <a:pt x="5866" y="6368"/>
                </a:cubicBezTo>
                <a:cubicBezTo>
                  <a:pt x="5905" y="6326"/>
                  <a:pt x="5979" y="6326"/>
                  <a:pt x="6018" y="636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401905-4B31-CA66-E5A0-BA1291582928}"/>
              </a:ext>
            </a:extLst>
          </p:cNvPr>
          <p:cNvSpPr txBox="1"/>
          <p:nvPr/>
        </p:nvSpPr>
        <p:spPr>
          <a:xfrm>
            <a:off x="4503923" y="4167523"/>
            <a:ext cx="3184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2800" b="1" dirty="0">
                <a:solidFill>
                  <a:schemeClr val="bg2"/>
                </a:solidFill>
                <a:latin typeface="Barlow" pitchFamily="2" charset="77"/>
                <a:cs typeface="Arial" panose="020B0604020202020204" pitchFamily="34" charset="0"/>
              </a:rPr>
              <a:t>Fertility</a:t>
            </a:r>
          </a:p>
        </p:txBody>
      </p:sp>
      <p:grpSp>
        <p:nvGrpSpPr>
          <p:cNvPr id="10" name="Group 86">
            <a:extLst>
              <a:ext uri="{FF2B5EF4-FFF2-40B4-BE49-F238E27FC236}">
                <a16:creationId xmlns:a16="http://schemas.microsoft.com/office/drawing/2014/main" id="{06FBCFFC-7EEA-F316-F5E0-36931316402A}"/>
              </a:ext>
            </a:extLst>
          </p:cNvPr>
          <p:cNvGrpSpPr>
            <a:grpSpLocks/>
          </p:cNvGrpSpPr>
          <p:nvPr/>
        </p:nvGrpSpPr>
        <p:grpSpPr bwMode="auto">
          <a:xfrm>
            <a:off x="5483629" y="2714294"/>
            <a:ext cx="1224740" cy="1197955"/>
            <a:chOff x="7526" y="-1106"/>
            <a:chExt cx="1875" cy="1834"/>
          </a:xfrm>
        </p:grpSpPr>
        <p:sp>
          <p:nvSpPr>
            <p:cNvPr id="11" name="Freeform 87">
              <a:extLst>
                <a:ext uri="{FF2B5EF4-FFF2-40B4-BE49-F238E27FC236}">
                  <a16:creationId xmlns:a16="http://schemas.microsoft.com/office/drawing/2014/main" id="{E270AB11-7DB8-35FD-F1CB-71188238F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8" y="-532"/>
              <a:ext cx="794" cy="340"/>
            </a:xfrm>
            <a:custGeom>
              <a:avLst/>
              <a:gdLst>
                <a:gd name="T0" fmla="*/ 0 w 386"/>
                <a:gd name="T1" fmla="*/ 93 h 165"/>
                <a:gd name="T2" fmla="*/ 60 w 386"/>
                <a:gd name="T3" fmla="*/ 61 h 165"/>
                <a:gd name="T4" fmla="*/ 384 w 386"/>
                <a:gd name="T5" fmla="*/ 159 h 165"/>
                <a:gd name="T6" fmla="*/ 386 w 386"/>
                <a:gd name="T7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6" h="165">
                  <a:moveTo>
                    <a:pt x="0" y="93"/>
                  </a:moveTo>
                  <a:cubicBezTo>
                    <a:pt x="60" y="61"/>
                    <a:pt x="60" y="61"/>
                    <a:pt x="60" y="61"/>
                  </a:cubicBezTo>
                  <a:cubicBezTo>
                    <a:pt x="177" y="0"/>
                    <a:pt x="321" y="44"/>
                    <a:pt x="384" y="159"/>
                  </a:cubicBezTo>
                  <a:cubicBezTo>
                    <a:pt x="386" y="165"/>
                    <a:pt x="386" y="165"/>
                    <a:pt x="386" y="165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88">
              <a:extLst>
                <a:ext uri="{FF2B5EF4-FFF2-40B4-BE49-F238E27FC236}">
                  <a16:creationId xmlns:a16="http://schemas.microsoft.com/office/drawing/2014/main" id="{9E65346A-E729-FA4C-FE72-35815C5ED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6" y="-542"/>
              <a:ext cx="370" cy="461"/>
            </a:xfrm>
            <a:custGeom>
              <a:avLst/>
              <a:gdLst>
                <a:gd name="T0" fmla="*/ 173 w 180"/>
                <a:gd name="T1" fmla="*/ 215 h 224"/>
                <a:gd name="T2" fmla="*/ 105 w 180"/>
                <a:gd name="T3" fmla="*/ 199 h 224"/>
                <a:gd name="T4" fmla="*/ 7 w 180"/>
                <a:gd name="T5" fmla="*/ 170 h 224"/>
                <a:gd name="T6" fmla="*/ 116 w 180"/>
                <a:gd name="T7" fmla="*/ 3 h 224"/>
                <a:gd name="T8" fmla="*/ 180 w 180"/>
                <a:gd name="T9" fmla="*/ 5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224">
                  <a:moveTo>
                    <a:pt x="173" y="215"/>
                  </a:moveTo>
                  <a:cubicBezTo>
                    <a:pt x="173" y="215"/>
                    <a:pt x="153" y="188"/>
                    <a:pt x="105" y="199"/>
                  </a:cubicBezTo>
                  <a:cubicBezTo>
                    <a:pt x="57" y="210"/>
                    <a:pt x="13" y="224"/>
                    <a:pt x="7" y="170"/>
                  </a:cubicBezTo>
                  <a:cubicBezTo>
                    <a:pt x="0" y="115"/>
                    <a:pt x="62" y="5"/>
                    <a:pt x="116" y="3"/>
                  </a:cubicBezTo>
                  <a:cubicBezTo>
                    <a:pt x="169" y="0"/>
                    <a:pt x="180" y="58"/>
                    <a:pt x="180" y="58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89">
              <a:extLst>
                <a:ext uri="{FF2B5EF4-FFF2-40B4-BE49-F238E27FC236}">
                  <a16:creationId xmlns:a16="http://schemas.microsoft.com/office/drawing/2014/main" id="{8F3F1FC1-A02F-6102-D254-3C274B24F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" y="-1106"/>
              <a:ext cx="1696" cy="1834"/>
            </a:xfrm>
            <a:custGeom>
              <a:avLst/>
              <a:gdLst>
                <a:gd name="T0" fmla="*/ 179 w 824"/>
                <a:gd name="T1" fmla="*/ 406 h 891"/>
                <a:gd name="T2" fmla="*/ 14 w 824"/>
                <a:gd name="T3" fmla="*/ 668 h 891"/>
                <a:gd name="T4" fmla="*/ 165 w 824"/>
                <a:gd name="T5" fmla="*/ 846 h 891"/>
                <a:gd name="T6" fmla="*/ 604 w 824"/>
                <a:gd name="T7" fmla="*/ 688 h 891"/>
                <a:gd name="T8" fmla="*/ 742 w 824"/>
                <a:gd name="T9" fmla="*/ 306 h 891"/>
                <a:gd name="T10" fmla="*/ 760 w 824"/>
                <a:gd name="T11" fmla="*/ 224 h 891"/>
                <a:gd name="T12" fmla="*/ 545 w 824"/>
                <a:gd name="T13" fmla="*/ 3 h 891"/>
                <a:gd name="T14" fmla="*/ 415 w 824"/>
                <a:gd name="T15" fmla="*/ 35 h 891"/>
                <a:gd name="T16" fmla="*/ 324 w 824"/>
                <a:gd name="T17" fmla="*/ 215 h 891"/>
                <a:gd name="T18" fmla="*/ 309 w 824"/>
                <a:gd name="T19" fmla="*/ 346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4" h="891">
                  <a:moveTo>
                    <a:pt x="179" y="406"/>
                  </a:moveTo>
                  <a:cubicBezTo>
                    <a:pt x="179" y="406"/>
                    <a:pt x="28" y="497"/>
                    <a:pt x="14" y="668"/>
                  </a:cubicBezTo>
                  <a:cubicBezTo>
                    <a:pt x="0" y="839"/>
                    <a:pt x="165" y="846"/>
                    <a:pt x="165" y="846"/>
                  </a:cubicBezTo>
                  <a:cubicBezTo>
                    <a:pt x="165" y="846"/>
                    <a:pt x="377" y="891"/>
                    <a:pt x="604" y="688"/>
                  </a:cubicBezTo>
                  <a:cubicBezTo>
                    <a:pt x="824" y="491"/>
                    <a:pt x="652" y="522"/>
                    <a:pt x="742" y="306"/>
                  </a:cubicBezTo>
                  <a:cubicBezTo>
                    <a:pt x="753" y="280"/>
                    <a:pt x="760" y="252"/>
                    <a:pt x="760" y="224"/>
                  </a:cubicBezTo>
                  <a:cubicBezTo>
                    <a:pt x="761" y="150"/>
                    <a:pt x="742" y="16"/>
                    <a:pt x="545" y="3"/>
                  </a:cubicBezTo>
                  <a:cubicBezTo>
                    <a:pt x="504" y="0"/>
                    <a:pt x="450" y="16"/>
                    <a:pt x="415" y="35"/>
                  </a:cubicBezTo>
                  <a:cubicBezTo>
                    <a:pt x="369" y="61"/>
                    <a:pt x="321" y="112"/>
                    <a:pt x="324" y="215"/>
                  </a:cubicBezTo>
                  <a:cubicBezTo>
                    <a:pt x="324" y="215"/>
                    <a:pt x="341" y="300"/>
                    <a:pt x="309" y="346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90">
              <a:extLst>
                <a:ext uri="{FF2B5EF4-FFF2-40B4-BE49-F238E27FC236}">
                  <a16:creationId xmlns:a16="http://schemas.microsoft.com/office/drawing/2014/main" id="{386C0057-BCB5-2F84-D6E7-77093F052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" y="-313"/>
              <a:ext cx="687" cy="191"/>
            </a:xfrm>
            <a:custGeom>
              <a:avLst/>
              <a:gdLst>
                <a:gd name="T0" fmla="*/ 0 w 334"/>
                <a:gd name="T1" fmla="*/ 92 h 93"/>
                <a:gd name="T2" fmla="*/ 334 w 334"/>
                <a:gd name="T3" fmla="*/ 8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4" h="93">
                  <a:moveTo>
                    <a:pt x="0" y="92"/>
                  </a:moveTo>
                  <a:cubicBezTo>
                    <a:pt x="12" y="93"/>
                    <a:pt x="109" y="0"/>
                    <a:pt x="334" y="81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91">
              <a:extLst>
                <a:ext uri="{FF2B5EF4-FFF2-40B4-BE49-F238E27FC236}">
                  <a16:creationId xmlns:a16="http://schemas.microsoft.com/office/drawing/2014/main" id="{A456F518-6085-9464-1B8B-E2B7FE756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" y="-406"/>
              <a:ext cx="669" cy="533"/>
            </a:xfrm>
            <a:custGeom>
              <a:avLst/>
              <a:gdLst>
                <a:gd name="T0" fmla="*/ 99 w 325"/>
                <a:gd name="T1" fmla="*/ 0 h 259"/>
                <a:gd name="T2" fmla="*/ 54 w 325"/>
                <a:gd name="T3" fmla="*/ 169 h 259"/>
                <a:gd name="T4" fmla="*/ 325 w 325"/>
                <a:gd name="T5" fmla="*/ 22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5" h="259">
                  <a:moveTo>
                    <a:pt x="99" y="0"/>
                  </a:moveTo>
                  <a:cubicBezTo>
                    <a:pt x="99" y="0"/>
                    <a:pt x="0" y="79"/>
                    <a:pt x="54" y="169"/>
                  </a:cubicBezTo>
                  <a:cubicBezTo>
                    <a:pt x="108" y="259"/>
                    <a:pt x="325" y="223"/>
                    <a:pt x="325" y="223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92">
              <a:extLst>
                <a:ext uri="{FF2B5EF4-FFF2-40B4-BE49-F238E27FC236}">
                  <a16:creationId xmlns:a16="http://schemas.microsoft.com/office/drawing/2014/main" id="{7E006253-B8DC-16A6-297B-82737A61D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" y="-19"/>
              <a:ext cx="127" cy="309"/>
            </a:xfrm>
            <a:custGeom>
              <a:avLst/>
              <a:gdLst>
                <a:gd name="T0" fmla="*/ 0 w 62"/>
                <a:gd name="T1" fmla="*/ 150 h 150"/>
                <a:gd name="T2" fmla="*/ 45 w 62"/>
                <a:gd name="T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2" h="150">
                  <a:moveTo>
                    <a:pt x="0" y="150"/>
                  </a:moveTo>
                  <a:cubicBezTo>
                    <a:pt x="0" y="150"/>
                    <a:pt x="62" y="87"/>
                    <a:pt x="45" y="0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93">
              <a:extLst>
                <a:ext uri="{FF2B5EF4-FFF2-40B4-BE49-F238E27FC236}">
                  <a16:creationId xmlns:a16="http://schemas.microsoft.com/office/drawing/2014/main" id="{037C7B2C-93DF-FD5B-6D71-8120312D5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2" y="-1100"/>
              <a:ext cx="568" cy="655"/>
            </a:xfrm>
            <a:custGeom>
              <a:avLst/>
              <a:gdLst>
                <a:gd name="T0" fmla="*/ 144 w 276"/>
                <a:gd name="T1" fmla="*/ 6 h 318"/>
                <a:gd name="T2" fmla="*/ 19 w 276"/>
                <a:gd name="T3" fmla="*/ 89 h 318"/>
                <a:gd name="T4" fmla="*/ 189 w 276"/>
                <a:gd name="T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6" h="318">
                  <a:moveTo>
                    <a:pt x="144" y="6"/>
                  </a:moveTo>
                  <a:cubicBezTo>
                    <a:pt x="144" y="6"/>
                    <a:pt x="31" y="0"/>
                    <a:pt x="19" y="89"/>
                  </a:cubicBezTo>
                  <a:cubicBezTo>
                    <a:pt x="0" y="227"/>
                    <a:pt x="276" y="169"/>
                    <a:pt x="189" y="318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94">
              <a:extLst>
                <a:ext uri="{FF2B5EF4-FFF2-40B4-BE49-F238E27FC236}">
                  <a16:creationId xmlns:a16="http://schemas.microsoft.com/office/drawing/2014/main" id="{C07B6705-182D-9F4B-14F8-051EFC999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" y="-616"/>
              <a:ext cx="240" cy="319"/>
            </a:xfrm>
            <a:custGeom>
              <a:avLst/>
              <a:gdLst>
                <a:gd name="T0" fmla="*/ 33 w 117"/>
                <a:gd name="T1" fmla="*/ 8 h 155"/>
                <a:gd name="T2" fmla="*/ 109 w 117"/>
                <a:gd name="T3" fmla="*/ 61 h 155"/>
                <a:gd name="T4" fmla="*/ 0 w 117"/>
                <a:gd name="T5" fmla="*/ 10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" h="155">
                  <a:moveTo>
                    <a:pt x="33" y="8"/>
                  </a:moveTo>
                  <a:cubicBezTo>
                    <a:pt x="33" y="8"/>
                    <a:pt x="117" y="0"/>
                    <a:pt x="109" y="61"/>
                  </a:cubicBezTo>
                  <a:cubicBezTo>
                    <a:pt x="101" y="122"/>
                    <a:pt x="22" y="155"/>
                    <a:pt x="0" y="104"/>
                  </a:cubicBezTo>
                </a:path>
              </a:pathLst>
            </a:custGeom>
            <a:grpFill/>
            <a:ln w="349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Freeform 27">
            <a:extLst>
              <a:ext uri="{FF2B5EF4-FFF2-40B4-BE49-F238E27FC236}">
                <a16:creationId xmlns:a16="http://schemas.microsoft.com/office/drawing/2014/main" id="{153E1B8F-FDB1-2EE1-7FB1-368C90DEAD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4811" y="2685735"/>
            <a:ext cx="1230224" cy="1215260"/>
          </a:xfrm>
          <a:custGeom>
            <a:avLst/>
            <a:gdLst>
              <a:gd name="T0" fmla="*/ 581 w 1162"/>
              <a:gd name="T1" fmla="*/ 93 h 1148"/>
              <a:gd name="T2" fmla="*/ 572 w 1162"/>
              <a:gd name="T3" fmla="*/ 748 h 1148"/>
              <a:gd name="T4" fmla="*/ 1000 w 1162"/>
              <a:gd name="T5" fmla="*/ 233 h 1148"/>
              <a:gd name="T6" fmla="*/ 395 w 1162"/>
              <a:gd name="T7" fmla="*/ 35 h 1148"/>
              <a:gd name="T8" fmla="*/ 767 w 1162"/>
              <a:gd name="T9" fmla="*/ 35 h 1148"/>
              <a:gd name="T10" fmla="*/ 393 w 1162"/>
              <a:gd name="T11" fmla="*/ 814 h 1148"/>
              <a:gd name="T12" fmla="*/ 194 w 1162"/>
              <a:gd name="T13" fmla="*/ 562 h 1148"/>
              <a:gd name="T14" fmla="*/ 92 w 1162"/>
              <a:gd name="T15" fmla="*/ 477 h 1148"/>
              <a:gd name="T16" fmla="*/ 5 w 1162"/>
              <a:gd name="T17" fmla="*/ 525 h 1148"/>
              <a:gd name="T18" fmla="*/ 474 w 1162"/>
              <a:gd name="T19" fmla="*/ 1118 h 1148"/>
              <a:gd name="T20" fmla="*/ 510 w 1162"/>
              <a:gd name="T21" fmla="*/ 909 h 1148"/>
              <a:gd name="T22" fmla="*/ 139 w 1162"/>
              <a:gd name="T23" fmla="*/ 513 h 1148"/>
              <a:gd name="T24" fmla="*/ 168 w 1162"/>
              <a:gd name="T25" fmla="*/ 689 h 1148"/>
              <a:gd name="T26" fmla="*/ 105 w 1162"/>
              <a:gd name="T27" fmla="*/ 510 h 1148"/>
              <a:gd name="T28" fmla="*/ 469 w 1162"/>
              <a:gd name="T29" fmla="*/ 1078 h 1148"/>
              <a:gd name="T30" fmla="*/ 40 w 1162"/>
              <a:gd name="T31" fmla="*/ 524 h 1148"/>
              <a:gd name="T32" fmla="*/ 60 w 1162"/>
              <a:gd name="T33" fmla="*/ 492 h 1148"/>
              <a:gd name="T34" fmla="*/ 154 w 1162"/>
              <a:gd name="T35" fmla="*/ 759 h 1148"/>
              <a:gd name="T36" fmla="*/ 308 w 1162"/>
              <a:gd name="T37" fmla="*/ 934 h 1148"/>
              <a:gd name="T38" fmla="*/ 187 w 1162"/>
              <a:gd name="T39" fmla="*/ 748 h 1148"/>
              <a:gd name="T40" fmla="*/ 223 w 1162"/>
              <a:gd name="T41" fmla="*/ 702 h 1148"/>
              <a:gd name="T42" fmla="*/ 484 w 1162"/>
              <a:gd name="T43" fmla="*/ 932 h 1148"/>
              <a:gd name="T44" fmla="*/ 1095 w 1162"/>
              <a:gd name="T45" fmla="*/ 458 h 1148"/>
              <a:gd name="T46" fmla="*/ 995 w 1162"/>
              <a:gd name="T47" fmla="*/ 492 h 1148"/>
              <a:gd name="T48" fmla="*/ 890 w 1162"/>
              <a:gd name="T49" fmla="*/ 695 h 1148"/>
              <a:gd name="T50" fmla="*/ 619 w 1162"/>
              <a:gd name="T51" fmla="*/ 1011 h 1148"/>
              <a:gd name="T52" fmla="*/ 778 w 1162"/>
              <a:gd name="T53" fmla="*/ 1148 h 1148"/>
              <a:gd name="T54" fmla="*/ 1136 w 1162"/>
              <a:gd name="T55" fmla="*/ 466 h 1148"/>
              <a:gd name="T56" fmla="*/ 1040 w 1162"/>
              <a:gd name="T57" fmla="*/ 503 h 1148"/>
              <a:gd name="T58" fmla="*/ 1050 w 1162"/>
              <a:gd name="T59" fmla="*/ 539 h 1148"/>
              <a:gd name="T60" fmla="*/ 967 w 1162"/>
              <a:gd name="T61" fmla="*/ 672 h 1148"/>
              <a:gd name="T62" fmla="*/ 855 w 1162"/>
              <a:gd name="T63" fmla="*/ 1084 h 1148"/>
              <a:gd name="T64" fmla="*/ 654 w 1162"/>
              <a:gd name="T65" fmla="*/ 1008 h 1148"/>
              <a:gd name="T66" fmla="*/ 919 w 1162"/>
              <a:gd name="T67" fmla="*/ 715 h 1148"/>
              <a:gd name="T68" fmla="*/ 943 w 1162"/>
              <a:gd name="T69" fmla="*/ 702 h 1148"/>
              <a:gd name="T70" fmla="*/ 971 w 1162"/>
              <a:gd name="T71" fmla="*/ 715 h 1148"/>
              <a:gd name="T72" fmla="*/ 975 w 1162"/>
              <a:gd name="T73" fmla="*/ 748 h 1148"/>
              <a:gd name="T74" fmla="*/ 867 w 1162"/>
              <a:gd name="T75" fmla="*/ 939 h 1148"/>
              <a:gd name="T76" fmla="*/ 1008 w 1162"/>
              <a:gd name="T77" fmla="*/ 759 h 1148"/>
              <a:gd name="T78" fmla="*/ 1114 w 1162"/>
              <a:gd name="T79" fmla="*/ 493 h 1148"/>
              <a:gd name="T80" fmla="*/ 645 w 1162"/>
              <a:gd name="T81" fmla="*/ 311 h 1148"/>
              <a:gd name="T82" fmla="*/ 561 w 1162"/>
              <a:gd name="T83" fmla="*/ 205 h 1148"/>
              <a:gd name="T84" fmla="*/ 455 w 1162"/>
              <a:gd name="T85" fmla="*/ 311 h 1148"/>
              <a:gd name="T86" fmla="*/ 455 w 1162"/>
              <a:gd name="T87" fmla="*/ 439 h 1148"/>
              <a:gd name="T88" fmla="*/ 561 w 1162"/>
              <a:gd name="T89" fmla="*/ 545 h 1148"/>
              <a:gd name="T90" fmla="*/ 645 w 1162"/>
              <a:gd name="T91" fmla="*/ 439 h 1148"/>
              <a:gd name="T92" fmla="*/ 752 w 1162"/>
              <a:gd name="T93" fmla="*/ 355 h 1148"/>
              <a:gd name="T94" fmla="*/ 707 w 1162"/>
              <a:gd name="T95" fmla="*/ 404 h 1148"/>
              <a:gd name="T96" fmla="*/ 610 w 1162"/>
              <a:gd name="T97" fmla="*/ 501 h 1148"/>
              <a:gd name="T98" fmla="*/ 552 w 1162"/>
              <a:gd name="T99" fmla="*/ 501 h 1148"/>
              <a:gd name="T100" fmla="*/ 455 w 1162"/>
              <a:gd name="T101" fmla="*/ 404 h 1148"/>
              <a:gd name="T102" fmla="*/ 455 w 1162"/>
              <a:gd name="T103" fmla="*/ 346 h 1148"/>
              <a:gd name="T104" fmla="*/ 552 w 1162"/>
              <a:gd name="T105" fmla="*/ 249 h 1148"/>
              <a:gd name="T106" fmla="*/ 610 w 1162"/>
              <a:gd name="T107" fmla="*/ 249 h 1148"/>
              <a:gd name="T108" fmla="*/ 707 w 1162"/>
              <a:gd name="T109" fmla="*/ 346 h 1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62" h="1148">
                <a:moveTo>
                  <a:pt x="1000" y="233"/>
                </a:moveTo>
                <a:cubicBezTo>
                  <a:pt x="1000" y="105"/>
                  <a:pt x="895" y="0"/>
                  <a:pt x="767" y="0"/>
                </a:cubicBezTo>
                <a:cubicBezTo>
                  <a:pt x="694" y="0"/>
                  <a:pt x="625" y="35"/>
                  <a:pt x="581" y="93"/>
                </a:cubicBezTo>
                <a:cubicBezTo>
                  <a:pt x="537" y="35"/>
                  <a:pt x="468" y="0"/>
                  <a:pt x="395" y="0"/>
                </a:cubicBezTo>
                <a:cubicBezTo>
                  <a:pt x="267" y="0"/>
                  <a:pt x="162" y="105"/>
                  <a:pt x="162" y="233"/>
                </a:cubicBezTo>
                <a:cubicBezTo>
                  <a:pt x="162" y="494"/>
                  <a:pt x="555" y="737"/>
                  <a:pt x="572" y="748"/>
                </a:cubicBezTo>
                <a:cubicBezTo>
                  <a:pt x="575" y="749"/>
                  <a:pt x="578" y="750"/>
                  <a:pt x="581" y="750"/>
                </a:cubicBezTo>
                <a:cubicBezTo>
                  <a:pt x="584" y="750"/>
                  <a:pt x="588" y="749"/>
                  <a:pt x="590" y="748"/>
                </a:cubicBezTo>
                <a:cubicBezTo>
                  <a:pt x="607" y="737"/>
                  <a:pt x="1000" y="494"/>
                  <a:pt x="1000" y="233"/>
                </a:cubicBezTo>
                <a:close/>
                <a:moveTo>
                  <a:pt x="581" y="712"/>
                </a:moveTo>
                <a:cubicBezTo>
                  <a:pt x="522" y="674"/>
                  <a:pt x="197" y="454"/>
                  <a:pt x="197" y="233"/>
                </a:cubicBezTo>
                <a:cubicBezTo>
                  <a:pt x="197" y="124"/>
                  <a:pt x="286" y="35"/>
                  <a:pt x="395" y="35"/>
                </a:cubicBezTo>
                <a:cubicBezTo>
                  <a:pt x="465" y="35"/>
                  <a:pt x="531" y="72"/>
                  <a:pt x="566" y="133"/>
                </a:cubicBezTo>
                <a:cubicBezTo>
                  <a:pt x="572" y="143"/>
                  <a:pt x="590" y="143"/>
                  <a:pt x="596" y="133"/>
                </a:cubicBezTo>
                <a:cubicBezTo>
                  <a:pt x="632" y="72"/>
                  <a:pt x="697" y="35"/>
                  <a:pt x="767" y="35"/>
                </a:cubicBezTo>
                <a:cubicBezTo>
                  <a:pt x="876" y="35"/>
                  <a:pt x="965" y="124"/>
                  <a:pt x="965" y="233"/>
                </a:cubicBezTo>
                <a:cubicBezTo>
                  <a:pt x="965" y="454"/>
                  <a:pt x="640" y="674"/>
                  <a:pt x="581" y="712"/>
                </a:cubicBezTo>
                <a:close/>
                <a:moveTo>
                  <a:pt x="393" y="814"/>
                </a:moveTo>
                <a:cubicBezTo>
                  <a:pt x="368" y="804"/>
                  <a:pt x="345" y="795"/>
                  <a:pt x="272" y="696"/>
                </a:cubicBezTo>
                <a:cubicBezTo>
                  <a:pt x="271" y="693"/>
                  <a:pt x="256" y="673"/>
                  <a:pt x="231" y="668"/>
                </a:cubicBezTo>
                <a:cubicBezTo>
                  <a:pt x="213" y="627"/>
                  <a:pt x="202" y="592"/>
                  <a:pt x="194" y="562"/>
                </a:cubicBezTo>
                <a:cubicBezTo>
                  <a:pt x="185" y="532"/>
                  <a:pt x="178" y="508"/>
                  <a:pt x="167" y="492"/>
                </a:cubicBezTo>
                <a:cubicBezTo>
                  <a:pt x="156" y="478"/>
                  <a:pt x="140" y="469"/>
                  <a:pt x="123" y="468"/>
                </a:cubicBezTo>
                <a:cubicBezTo>
                  <a:pt x="113" y="468"/>
                  <a:pt x="102" y="471"/>
                  <a:pt x="92" y="477"/>
                </a:cubicBezTo>
                <a:cubicBezTo>
                  <a:pt x="86" y="467"/>
                  <a:pt x="78" y="460"/>
                  <a:pt x="67" y="458"/>
                </a:cubicBezTo>
                <a:cubicBezTo>
                  <a:pt x="47" y="453"/>
                  <a:pt x="34" y="460"/>
                  <a:pt x="26" y="466"/>
                </a:cubicBezTo>
                <a:cubicBezTo>
                  <a:pt x="4" y="485"/>
                  <a:pt x="5" y="522"/>
                  <a:pt x="5" y="525"/>
                </a:cubicBezTo>
                <a:cubicBezTo>
                  <a:pt x="0" y="807"/>
                  <a:pt x="177" y="1012"/>
                  <a:pt x="284" y="1110"/>
                </a:cubicBezTo>
                <a:cubicBezTo>
                  <a:pt x="312" y="1135"/>
                  <a:pt x="348" y="1148"/>
                  <a:pt x="384" y="1148"/>
                </a:cubicBezTo>
                <a:cubicBezTo>
                  <a:pt x="416" y="1148"/>
                  <a:pt x="447" y="1138"/>
                  <a:pt x="474" y="1118"/>
                </a:cubicBezTo>
                <a:cubicBezTo>
                  <a:pt x="490" y="1106"/>
                  <a:pt x="490" y="1106"/>
                  <a:pt x="490" y="1106"/>
                </a:cubicBezTo>
                <a:cubicBezTo>
                  <a:pt x="520" y="1083"/>
                  <a:pt x="539" y="1049"/>
                  <a:pt x="543" y="1011"/>
                </a:cubicBezTo>
                <a:cubicBezTo>
                  <a:pt x="547" y="973"/>
                  <a:pt x="535" y="937"/>
                  <a:pt x="510" y="909"/>
                </a:cubicBezTo>
                <a:cubicBezTo>
                  <a:pt x="446" y="836"/>
                  <a:pt x="418" y="824"/>
                  <a:pt x="393" y="814"/>
                </a:cubicBezTo>
                <a:close/>
                <a:moveTo>
                  <a:pt x="122" y="503"/>
                </a:moveTo>
                <a:cubicBezTo>
                  <a:pt x="128" y="503"/>
                  <a:pt x="134" y="507"/>
                  <a:pt x="139" y="513"/>
                </a:cubicBezTo>
                <a:cubicBezTo>
                  <a:pt x="147" y="524"/>
                  <a:pt x="153" y="545"/>
                  <a:pt x="160" y="572"/>
                </a:cubicBezTo>
                <a:cubicBezTo>
                  <a:pt x="168" y="600"/>
                  <a:pt x="178" y="634"/>
                  <a:pt x="195" y="672"/>
                </a:cubicBezTo>
                <a:cubicBezTo>
                  <a:pt x="186" y="676"/>
                  <a:pt x="177" y="681"/>
                  <a:pt x="168" y="689"/>
                </a:cubicBezTo>
                <a:cubicBezTo>
                  <a:pt x="166" y="691"/>
                  <a:pt x="165" y="692"/>
                  <a:pt x="163" y="694"/>
                </a:cubicBezTo>
                <a:cubicBezTo>
                  <a:pt x="135" y="629"/>
                  <a:pt x="122" y="576"/>
                  <a:pt x="112" y="539"/>
                </a:cubicBezTo>
                <a:cubicBezTo>
                  <a:pt x="110" y="528"/>
                  <a:pt x="107" y="519"/>
                  <a:pt x="105" y="510"/>
                </a:cubicBezTo>
                <a:cubicBezTo>
                  <a:pt x="110" y="506"/>
                  <a:pt x="116" y="503"/>
                  <a:pt x="122" y="503"/>
                </a:cubicBezTo>
                <a:close/>
                <a:moveTo>
                  <a:pt x="508" y="1008"/>
                </a:moveTo>
                <a:cubicBezTo>
                  <a:pt x="505" y="1036"/>
                  <a:pt x="492" y="1061"/>
                  <a:pt x="469" y="1078"/>
                </a:cubicBezTo>
                <a:cubicBezTo>
                  <a:pt x="453" y="1090"/>
                  <a:pt x="453" y="1090"/>
                  <a:pt x="453" y="1090"/>
                </a:cubicBezTo>
                <a:cubicBezTo>
                  <a:pt x="409" y="1123"/>
                  <a:pt x="348" y="1121"/>
                  <a:pt x="307" y="1084"/>
                </a:cubicBezTo>
                <a:cubicBezTo>
                  <a:pt x="205" y="990"/>
                  <a:pt x="35" y="794"/>
                  <a:pt x="40" y="524"/>
                </a:cubicBezTo>
                <a:cubicBezTo>
                  <a:pt x="40" y="515"/>
                  <a:pt x="42" y="498"/>
                  <a:pt x="48" y="493"/>
                </a:cubicBezTo>
                <a:cubicBezTo>
                  <a:pt x="49" y="493"/>
                  <a:pt x="51" y="491"/>
                  <a:pt x="54" y="491"/>
                </a:cubicBezTo>
                <a:cubicBezTo>
                  <a:pt x="56" y="491"/>
                  <a:pt x="58" y="491"/>
                  <a:pt x="60" y="492"/>
                </a:cubicBezTo>
                <a:cubicBezTo>
                  <a:pt x="65" y="495"/>
                  <a:pt x="73" y="524"/>
                  <a:pt x="79" y="548"/>
                </a:cubicBezTo>
                <a:cubicBezTo>
                  <a:pt x="91" y="595"/>
                  <a:pt x="109" y="667"/>
                  <a:pt x="154" y="759"/>
                </a:cubicBezTo>
                <a:cubicBezTo>
                  <a:pt x="154" y="759"/>
                  <a:pt x="154" y="759"/>
                  <a:pt x="154" y="759"/>
                </a:cubicBezTo>
                <a:cubicBezTo>
                  <a:pt x="168" y="803"/>
                  <a:pt x="210" y="860"/>
                  <a:pt x="283" y="934"/>
                </a:cubicBezTo>
                <a:cubicBezTo>
                  <a:pt x="286" y="938"/>
                  <a:pt x="291" y="939"/>
                  <a:pt x="295" y="939"/>
                </a:cubicBezTo>
                <a:cubicBezTo>
                  <a:pt x="300" y="939"/>
                  <a:pt x="304" y="938"/>
                  <a:pt x="308" y="934"/>
                </a:cubicBezTo>
                <a:cubicBezTo>
                  <a:pt x="314" y="927"/>
                  <a:pt x="314" y="916"/>
                  <a:pt x="308" y="910"/>
                </a:cubicBezTo>
                <a:cubicBezTo>
                  <a:pt x="221" y="822"/>
                  <a:pt x="195" y="773"/>
                  <a:pt x="187" y="748"/>
                </a:cubicBezTo>
                <a:cubicBezTo>
                  <a:pt x="187" y="748"/>
                  <a:pt x="187" y="748"/>
                  <a:pt x="187" y="748"/>
                </a:cubicBezTo>
                <a:cubicBezTo>
                  <a:pt x="187" y="747"/>
                  <a:pt x="187" y="747"/>
                  <a:pt x="187" y="747"/>
                </a:cubicBezTo>
                <a:cubicBezTo>
                  <a:pt x="181" y="724"/>
                  <a:pt x="189" y="718"/>
                  <a:pt x="191" y="715"/>
                </a:cubicBezTo>
                <a:cubicBezTo>
                  <a:pt x="203" y="706"/>
                  <a:pt x="213" y="701"/>
                  <a:pt x="223" y="702"/>
                </a:cubicBezTo>
                <a:cubicBezTo>
                  <a:pt x="235" y="704"/>
                  <a:pt x="243" y="715"/>
                  <a:pt x="244" y="716"/>
                </a:cubicBezTo>
                <a:cubicBezTo>
                  <a:pt x="323" y="823"/>
                  <a:pt x="349" y="834"/>
                  <a:pt x="380" y="846"/>
                </a:cubicBezTo>
                <a:cubicBezTo>
                  <a:pt x="402" y="856"/>
                  <a:pt x="425" y="865"/>
                  <a:pt x="484" y="932"/>
                </a:cubicBezTo>
                <a:cubicBezTo>
                  <a:pt x="502" y="953"/>
                  <a:pt x="511" y="980"/>
                  <a:pt x="508" y="1008"/>
                </a:cubicBezTo>
                <a:close/>
                <a:moveTo>
                  <a:pt x="1136" y="466"/>
                </a:moveTo>
                <a:cubicBezTo>
                  <a:pt x="1129" y="460"/>
                  <a:pt x="1115" y="453"/>
                  <a:pt x="1095" y="458"/>
                </a:cubicBezTo>
                <a:cubicBezTo>
                  <a:pt x="1084" y="460"/>
                  <a:pt x="1076" y="467"/>
                  <a:pt x="1070" y="477"/>
                </a:cubicBezTo>
                <a:cubicBezTo>
                  <a:pt x="1060" y="471"/>
                  <a:pt x="1049" y="468"/>
                  <a:pt x="1039" y="468"/>
                </a:cubicBezTo>
                <a:cubicBezTo>
                  <a:pt x="1022" y="469"/>
                  <a:pt x="1006" y="478"/>
                  <a:pt x="995" y="492"/>
                </a:cubicBezTo>
                <a:cubicBezTo>
                  <a:pt x="984" y="508"/>
                  <a:pt x="977" y="532"/>
                  <a:pt x="968" y="562"/>
                </a:cubicBezTo>
                <a:cubicBezTo>
                  <a:pt x="960" y="592"/>
                  <a:pt x="949" y="627"/>
                  <a:pt x="931" y="668"/>
                </a:cubicBezTo>
                <a:cubicBezTo>
                  <a:pt x="906" y="673"/>
                  <a:pt x="891" y="693"/>
                  <a:pt x="890" y="695"/>
                </a:cubicBezTo>
                <a:cubicBezTo>
                  <a:pt x="817" y="795"/>
                  <a:pt x="794" y="804"/>
                  <a:pt x="769" y="814"/>
                </a:cubicBezTo>
                <a:cubicBezTo>
                  <a:pt x="744" y="824"/>
                  <a:pt x="716" y="836"/>
                  <a:pt x="652" y="909"/>
                </a:cubicBezTo>
                <a:cubicBezTo>
                  <a:pt x="627" y="937"/>
                  <a:pt x="615" y="973"/>
                  <a:pt x="619" y="1011"/>
                </a:cubicBezTo>
                <a:cubicBezTo>
                  <a:pt x="623" y="1049"/>
                  <a:pt x="642" y="1083"/>
                  <a:pt x="672" y="1106"/>
                </a:cubicBezTo>
                <a:cubicBezTo>
                  <a:pt x="688" y="1118"/>
                  <a:pt x="688" y="1118"/>
                  <a:pt x="688" y="1118"/>
                </a:cubicBezTo>
                <a:cubicBezTo>
                  <a:pt x="715" y="1138"/>
                  <a:pt x="747" y="1148"/>
                  <a:pt x="778" y="1148"/>
                </a:cubicBezTo>
                <a:cubicBezTo>
                  <a:pt x="814" y="1148"/>
                  <a:pt x="850" y="1135"/>
                  <a:pt x="878" y="1110"/>
                </a:cubicBezTo>
                <a:cubicBezTo>
                  <a:pt x="985" y="1012"/>
                  <a:pt x="1162" y="807"/>
                  <a:pt x="1157" y="526"/>
                </a:cubicBezTo>
                <a:cubicBezTo>
                  <a:pt x="1157" y="522"/>
                  <a:pt x="1158" y="485"/>
                  <a:pt x="1136" y="466"/>
                </a:cubicBezTo>
                <a:close/>
                <a:moveTo>
                  <a:pt x="1002" y="572"/>
                </a:moveTo>
                <a:cubicBezTo>
                  <a:pt x="1009" y="545"/>
                  <a:pt x="1015" y="524"/>
                  <a:pt x="1024" y="513"/>
                </a:cubicBezTo>
                <a:cubicBezTo>
                  <a:pt x="1028" y="507"/>
                  <a:pt x="1034" y="503"/>
                  <a:pt x="1040" y="503"/>
                </a:cubicBezTo>
                <a:cubicBezTo>
                  <a:pt x="1040" y="503"/>
                  <a:pt x="1040" y="503"/>
                  <a:pt x="1040" y="503"/>
                </a:cubicBezTo>
                <a:cubicBezTo>
                  <a:pt x="1046" y="503"/>
                  <a:pt x="1052" y="506"/>
                  <a:pt x="1057" y="510"/>
                </a:cubicBezTo>
                <a:cubicBezTo>
                  <a:pt x="1055" y="519"/>
                  <a:pt x="1052" y="528"/>
                  <a:pt x="1050" y="539"/>
                </a:cubicBezTo>
                <a:cubicBezTo>
                  <a:pt x="1040" y="576"/>
                  <a:pt x="1027" y="629"/>
                  <a:pt x="999" y="694"/>
                </a:cubicBezTo>
                <a:cubicBezTo>
                  <a:pt x="997" y="692"/>
                  <a:pt x="996" y="691"/>
                  <a:pt x="994" y="689"/>
                </a:cubicBezTo>
                <a:cubicBezTo>
                  <a:pt x="985" y="681"/>
                  <a:pt x="976" y="676"/>
                  <a:pt x="967" y="672"/>
                </a:cubicBezTo>
                <a:cubicBezTo>
                  <a:pt x="984" y="634"/>
                  <a:pt x="994" y="600"/>
                  <a:pt x="1002" y="572"/>
                </a:cubicBezTo>
                <a:close/>
                <a:moveTo>
                  <a:pt x="1122" y="525"/>
                </a:moveTo>
                <a:cubicBezTo>
                  <a:pt x="1127" y="794"/>
                  <a:pt x="957" y="990"/>
                  <a:pt x="855" y="1084"/>
                </a:cubicBezTo>
                <a:cubicBezTo>
                  <a:pt x="814" y="1121"/>
                  <a:pt x="753" y="1123"/>
                  <a:pt x="709" y="1090"/>
                </a:cubicBezTo>
                <a:cubicBezTo>
                  <a:pt x="693" y="1078"/>
                  <a:pt x="693" y="1078"/>
                  <a:pt x="693" y="1078"/>
                </a:cubicBezTo>
                <a:cubicBezTo>
                  <a:pt x="671" y="1061"/>
                  <a:pt x="657" y="1036"/>
                  <a:pt x="654" y="1008"/>
                </a:cubicBezTo>
                <a:cubicBezTo>
                  <a:pt x="651" y="980"/>
                  <a:pt x="660" y="953"/>
                  <a:pt x="678" y="932"/>
                </a:cubicBezTo>
                <a:cubicBezTo>
                  <a:pt x="737" y="865"/>
                  <a:pt x="760" y="856"/>
                  <a:pt x="782" y="846"/>
                </a:cubicBezTo>
                <a:cubicBezTo>
                  <a:pt x="813" y="834"/>
                  <a:pt x="839" y="823"/>
                  <a:pt x="919" y="715"/>
                </a:cubicBezTo>
                <a:cubicBezTo>
                  <a:pt x="919" y="715"/>
                  <a:pt x="927" y="704"/>
                  <a:pt x="940" y="702"/>
                </a:cubicBezTo>
                <a:cubicBezTo>
                  <a:pt x="941" y="702"/>
                  <a:pt x="942" y="702"/>
                  <a:pt x="942" y="702"/>
                </a:cubicBezTo>
                <a:cubicBezTo>
                  <a:pt x="943" y="702"/>
                  <a:pt x="943" y="702"/>
                  <a:pt x="943" y="702"/>
                </a:cubicBezTo>
                <a:cubicBezTo>
                  <a:pt x="943" y="702"/>
                  <a:pt x="943" y="702"/>
                  <a:pt x="943" y="702"/>
                </a:cubicBezTo>
                <a:cubicBezTo>
                  <a:pt x="943" y="702"/>
                  <a:pt x="943" y="702"/>
                  <a:pt x="943" y="702"/>
                </a:cubicBezTo>
                <a:cubicBezTo>
                  <a:pt x="952" y="702"/>
                  <a:pt x="961" y="707"/>
                  <a:pt x="971" y="715"/>
                </a:cubicBezTo>
                <a:cubicBezTo>
                  <a:pt x="973" y="718"/>
                  <a:pt x="982" y="724"/>
                  <a:pt x="975" y="747"/>
                </a:cubicBezTo>
                <a:cubicBezTo>
                  <a:pt x="975" y="747"/>
                  <a:pt x="975" y="747"/>
                  <a:pt x="975" y="748"/>
                </a:cubicBezTo>
                <a:cubicBezTo>
                  <a:pt x="975" y="748"/>
                  <a:pt x="975" y="748"/>
                  <a:pt x="975" y="748"/>
                </a:cubicBezTo>
                <a:cubicBezTo>
                  <a:pt x="968" y="773"/>
                  <a:pt x="941" y="822"/>
                  <a:pt x="854" y="910"/>
                </a:cubicBezTo>
                <a:cubicBezTo>
                  <a:pt x="848" y="916"/>
                  <a:pt x="848" y="927"/>
                  <a:pt x="855" y="934"/>
                </a:cubicBezTo>
                <a:cubicBezTo>
                  <a:pt x="858" y="938"/>
                  <a:pt x="862" y="939"/>
                  <a:pt x="867" y="939"/>
                </a:cubicBezTo>
                <a:cubicBezTo>
                  <a:pt x="871" y="939"/>
                  <a:pt x="876" y="938"/>
                  <a:pt x="879" y="934"/>
                </a:cubicBezTo>
                <a:cubicBezTo>
                  <a:pt x="953" y="860"/>
                  <a:pt x="994" y="803"/>
                  <a:pt x="1008" y="759"/>
                </a:cubicBezTo>
                <a:cubicBezTo>
                  <a:pt x="1008" y="759"/>
                  <a:pt x="1008" y="759"/>
                  <a:pt x="1008" y="759"/>
                </a:cubicBezTo>
                <a:cubicBezTo>
                  <a:pt x="1053" y="667"/>
                  <a:pt x="1071" y="595"/>
                  <a:pt x="1084" y="548"/>
                </a:cubicBezTo>
                <a:cubicBezTo>
                  <a:pt x="1090" y="524"/>
                  <a:pt x="1097" y="495"/>
                  <a:pt x="1103" y="492"/>
                </a:cubicBezTo>
                <a:cubicBezTo>
                  <a:pt x="1110" y="490"/>
                  <a:pt x="1113" y="492"/>
                  <a:pt x="1114" y="493"/>
                </a:cubicBezTo>
                <a:cubicBezTo>
                  <a:pt x="1120" y="498"/>
                  <a:pt x="1122" y="515"/>
                  <a:pt x="1122" y="525"/>
                </a:cubicBezTo>
                <a:close/>
                <a:moveTo>
                  <a:pt x="707" y="311"/>
                </a:moveTo>
                <a:cubicBezTo>
                  <a:pt x="645" y="311"/>
                  <a:pt x="645" y="311"/>
                  <a:pt x="645" y="311"/>
                </a:cubicBezTo>
                <a:cubicBezTo>
                  <a:pt x="645" y="249"/>
                  <a:pt x="645" y="249"/>
                  <a:pt x="645" y="249"/>
                </a:cubicBezTo>
                <a:cubicBezTo>
                  <a:pt x="645" y="224"/>
                  <a:pt x="625" y="205"/>
                  <a:pt x="601" y="205"/>
                </a:cubicBezTo>
                <a:cubicBezTo>
                  <a:pt x="561" y="205"/>
                  <a:pt x="561" y="205"/>
                  <a:pt x="561" y="205"/>
                </a:cubicBezTo>
                <a:cubicBezTo>
                  <a:pt x="537" y="205"/>
                  <a:pt x="517" y="224"/>
                  <a:pt x="517" y="249"/>
                </a:cubicBezTo>
                <a:cubicBezTo>
                  <a:pt x="517" y="311"/>
                  <a:pt x="517" y="311"/>
                  <a:pt x="517" y="311"/>
                </a:cubicBezTo>
                <a:cubicBezTo>
                  <a:pt x="455" y="311"/>
                  <a:pt x="455" y="311"/>
                  <a:pt x="455" y="311"/>
                </a:cubicBezTo>
                <a:cubicBezTo>
                  <a:pt x="430" y="311"/>
                  <a:pt x="411" y="330"/>
                  <a:pt x="411" y="355"/>
                </a:cubicBezTo>
                <a:cubicBezTo>
                  <a:pt x="411" y="395"/>
                  <a:pt x="411" y="395"/>
                  <a:pt x="411" y="395"/>
                </a:cubicBezTo>
                <a:cubicBezTo>
                  <a:pt x="411" y="420"/>
                  <a:pt x="430" y="439"/>
                  <a:pt x="455" y="439"/>
                </a:cubicBezTo>
                <a:cubicBezTo>
                  <a:pt x="517" y="439"/>
                  <a:pt x="517" y="439"/>
                  <a:pt x="517" y="439"/>
                </a:cubicBezTo>
                <a:cubicBezTo>
                  <a:pt x="517" y="501"/>
                  <a:pt x="517" y="501"/>
                  <a:pt x="517" y="501"/>
                </a:cubicBezTo>
                <a:cubicBezTo>
                  <a:pt x="517" y="526"/>
                  <a:pt x="537" y="545"/>
                  <a:pt x="561" y="545"/>
                </a:cubicBezTo>
                <a:cubicBezTo>
                  <a:pt x="601" y="545"/>
                  <a:pt x="601" y="545"/>
                  <a:pt x="601" y="545"/>
                </a:cubicBezTo>
                <a:cubicBezTo>
                  <a:pt x="625" y="545"/>
                  <a:pt x="645" y="526"/>
                  <a:pt x="645" y="501"/>
                </a:cubicBezTo>
                <a:cubicBezTo>
                  <a:pt x="645" y="439"/>
                  <a:pt x="645" y="439"/>
                  <a:pt x="645" y="439"/>
                </a:cubicBezTo>
                <a:cubicBezTo>
                  <a:pt x="707" y="439"/>
                  <a:pt x="707" y="439"/>
                  <a:pt x="707" y="439"/>
                </a:cubicBezTo>
                <a:cubicBezTo>
                  <a:pt x="732" y="439"/>
                  <a:pt x="752" y="420"/>
                  <a:pt x="752" y="395"/>
                </a:cubicBezTo>
                <a:cubicBezTo>
                  <a:pt x="752" y="355"/>
                  <a:pt x="752" y="355"/>
                  <a:pt x="752" y="355"/>
                </a:cubicBezTo>
                <a:cubicBezTo>
                  <a:pt x="752" y="330"/>
                  <a:pt x="732" y="311"/>
                  <a:pt x="707" y="311"/>
                </a:cubicBezTo>
                <a:close/>
                <a:moveTo>
                  <a:pt x="717" y="395"/>
                </a:moveTo>
                <a:cubicBezTo>
                  <a:pt x="717" y="400"/>
                  <a:pt x="713" y="404"/>
                  <a:pt x="707" y="404"/>
                </a:cubicBezTo>
                <a:cubicBezTo>
                  <a:pt x="628" y="404"/>
                  <a:pt x="628" y="404"/>
                  <a:pt x="628" y="404"/>
                </a:cubicBezTo>
                <a:cubicBezTo>
                  <a:pt x="618" y="404"/>
                  <a:pt x="610" y="412"/>
                  <a:pt x="610" y="422"/>
                </a:cubicBezTo>
                <a:cubicBezTo>
                  <a:pt x="610" y="501"/>
                  <a:pt x="610" y="501"/>
                  <a:pt x="610" y="501"/>
                </a:cubicBezTo>
                <a:cubicBezTo>
                  <a:pt x="610" y="507"/>
                  <a:pt x="606" y="511"/>
                  <a:pt x="601" y="511"/>
                </a:cubicBezTo>
                <a:cubicBezTo>
                  <a:pt x="561" y="511"/>
                  <a:pt x="561" y="511"/>
                  <a:pt x="561" y="511"/>
                </a:cubicBezTo>
                <a:cubicBezTo>
                  <a:pt x="556" y="511"/>
                  <a:pt x="552" y="507"/>
                  <a:pt x="552" y="501"/>
                </a:cubicBezTo>
                <a:cubicBezTo>
                  <a:pt x="552" y="422"/>
                  <a:pt x="552" y="422"/>
                  <a:pt x="552" y="422"/>
                </a:cubicBezTo>
                <a:cubicBezTo>
                  <a:pt x="552" y="412"/>
                  <a:pt x="544" y="404"/>
                  <a:pt x="534" y="404"/>
                </a:cubicBezTo>
                <a:cubicBezTo>
                  <a:pt x="455" y="404"/>
                  <a:pt x="455" y="404"/>
                  <a:pt x="455" y="404"/>
                </a:cubicBezTo>
                <a:cubicBezTo>
                  <a:pt x="449" y="404"/>
                  <a:pt x="446" y="400"/>
                  <a:pt x="446" y="395"/>
                </a:cubicBezTo>
                <a:cubicBezTo>
                  <a:pt x="446" y="355"/>
                  <a:pt x="446" y="355"/>
                  <a:pt x="446" y="355"/>
                </a:cubicBezTo>
                <a:cubicBezTo>
                  <a:pt x="446" y="350"/>
                  <a:pt x="449" y="346"/>
                  <a:pt x="455" y="346"/>
                </a:cubicBezTo>
                <a:cubicBezTo>
                  <a:pt x="534" y="346"/>
                  <a:pt x="534" y="346"/>
                  <a:pt x="534" y="346"/>
                </a:cubicBezTo>
                <a:cubicBezTo>
                  <a:pt x="544" y="346"/>
                  <a:pt x="552" y="338"/>
                  <a:pt x="552" y="328"/>
                </a:cubicBezTo>
                <a:cubicBezTo>
                  <a:pt x="552" y="249"/>
                  <a:pt x="552" y="249"/>
                  <a:pt x="552" y="249"/>
                </a:cubicBezTo>
                <a:cubicBezTo>
                  <a:pt x="552" y="243"/>
                  <a:pt x="556" y="239"/>
                  <a:pt x="561" y="239"/>
                </a:cubicBezTo>
                <a:cubicBezTo>
                  <a:pt x="601" y="239"/>
                  <a:pt x="601" y="239"/>
                  <a:pt x="601" y="239"/>
                </a:cubicBezTo>
                <a:cubicBezTo>
                  <a:pt x="606" y="239"/>
                  <a:pt x="610" y="243"/>
                  <a:pt x="610" y="249"/>
                </a:cubicBezTo>
                <a:cubicBezTo>
                  <a:pt x="610" y="328"/>
                  <a:pt x="610" y="328"/>
                  <a:pt x="610" y="328"/>
                </a:cubicBezTo>
                <a:cubicBezTo>
                  <a:pt x="610" y="338"/>
                  <a:pt x="618" y="346"/>
                  <a:pt x="628" y="346"/>
                </a:cubicBezTo>
                <a:cubicBezTo>
                  <a:pt x="707" y="346"/>
                  <a:pt x="707" y="346"/>
                  <a:pt x="707" y="346"/>
                </a:cubicBezTo>
                <a:cubicBezTo>
                  <a:pt x="713" y="346"/>
                  <a:pt x="717" y="350"/>
                  <a:pt x="717" y="355"/>
                </a:cubicBezTo>
                <a:lnTo>
                  <a:pt x="717" y="3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BD66CD-D1A1-81A6-21BD-55D2C2159FAB}"/>
              </a:ext>
            </a:extLst>
          </p:cNvPr>
          <p:cNvSpPr txBox="1"/>
          <p:nvPr/>
        </p:nvSpPr>
        <p:spPr>
          <a:xfrm>
            <a:off x="8537820" y="4167523"/>
            <a:ext cx="3184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2800" b="1" dirty="0">
                <a:solidFill>
                  <a:schemeClr val="bg2"/>
                </a:solidFill>
                <a:latin typeface="Barlow" pitchFamily="2" charset="77"/>
                <a:cs typeface="Arial" panose="020B0604020202020204" pitchFamily="34" charset="0"/>
              </a:rPr>
              <a:t>Aging</a:t>
            </a:r>
          </a:p>
        </p:txBody>
      </p:sp>
    </p:spTree>
    <p:extLst>
      <p:ext uri="{BB962C8B-B14F-4D97-AF65-F5344CB8AC3E}">
        <p14:creationId xmlns:p14="http://schemas.microsoft.com/office/powerpoint/2010/main" val="218403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Looking up view of tall buildings&#10;&#10;Description automatically generated">
            <a:extLst>
              <a:ext uri="{FF2B5EF4-FFF2-40B4-BE49-F238E27FC236}">
                <a16:creationId xmlns:a16="http://schemas.microsoft.com/office/drawing/2014/main" id="{35F8CF4A-5B15-09C1-C9C7-D3F2F50E4D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111D2D6-E2B9-8AF6-B214-06BA81D7878A}"/>
              </a:ext>
            </a:extLst>
          </p:cNvPr>
          <p:cNvSpPr/>
          <p:nvPr/>
        </p:nvSpPr>
        <p:spPr>
          <a:xfrm>
            <a:off x="0" y="0"/>
            <a:ext cx="6724185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5E6F4B-FCA4-A4EF-DC18-C980FAD0F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Urbaniz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952C3D-A79B-A12B-609E-7027844A77CE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13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4219AC6D-470B-67C3-2061-B9B72210CF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828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oup of people walking on a crosswalk&#10;&#10;Description automatically generated">
            <a:extLst>
              <a:ext uri="{FF2B5EF4-FFF2-40B4-BE49-F238E27FC236}">
                <a16:creationId xmlns:a16="http://schemas.microsoft.com/office/drawing/2014/main" id="{47B63B0A-A166-FE0B-974A-64B077D9FB8E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526D7-53BF-E831-B27C-9DE22C883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999" y="2063263"/>
            <a:ext cx="5498363" cy="304800"/>
          </a:xfrm>
        </p:spPr>
        <p:txBody>
          <a:bodyPr/>
          <a:lstStyle/>
          <a:p>
            <a:r>
              <a:rPr lang="en-CA" sz="1800" dirty="0"/>
              <a:t>% of the World’s Population Living in Urban Area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AC6F6E-9FE8-4B48-8252-206DB4DB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Biggest Migration in Human History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E5265B5-569F-9354-D974-D7B6B1605658}"/>
              </a:ext>
            </a:extLst>
          </p:cNvPr>
          <p:cNvCxnSpPr/>
          <p:nvPr/>
        </p:nvCxnSpPr>
        <p:spPr>
          <a:xfrm>
            <a:off x="449999" y="2414955"/>
            <a:ext cx="527086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A4DE4BC-C9BD-BC6A-9082-776DAB095E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3070796"/>
              </p:ext>
            </p:extLst>
          </p:nvPr>
        </p:nvGraphicFramePr>
        <p:xfrm>
          <a:off x="449999" y="2461848"/>
          <a:ext cx="5270863" cy="313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71DABFF-A319-8633-3CB2-B8B890E4F576}"/>
              </a:ext>
            </a:extLst>
          </p:cNvPr>
          <p:cNvSpPr/>
          <p:nvPr/>
        </p:nvSpPr>
        <p:spPr>
          <a:xfrm>
            <a:off x="874017" y="5648281"/>
            <a:ext cx="8699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Barlow" pitchFamily="2" charset="77"/>
              </a:rPr>
              <a:t>196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34B7B2-11F7-F462-69A1-3DCEBF7A4DAF}"/>
              </a:ext>
            </a:extLst>
          </p:cNvPr>
          <p:cNvSpPr/>
          <p:nvPr/>
        </p:nvSpPr>
        <p:spPr>
          <a:xfrm>
            <a:off x="2543697" y="5648281"/>
            <a:ext cx="10834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Barlow" pitchFamily="2" charset="77"/>
              </a:rPr>
              <a:t>Toda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A4A147A-4DC3-46CC-3AB5-BFA653F759A9}"/>
              </a:ext>
            </a:extLst>
          </p:cNvPr>
          <p:cNvSpPr/>
          <p:nvPr/>
        </p:nvSpPr>
        <p:spPr>
          <a:xfrm>
            <a:off x="4385467" y="5648281"/>
            <a:ext cx="8781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Barlow" pitchFamily="2" charset="77"/>
              </a:rPr>
              <a:t>205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532145-EFAB-AE88-3BEB-E76818198983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</p:spTree>
    <p:extLst>
      <p:ext uri="{BB962C8B-B14F-4D97-AF65-F5344CB8AC3E}">
        <p14:creationId xmlns:p14="http://schemas.microsoft.com/office/powerpoint/2010/main" val="1454944069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9CFE7-F41D-A213-D301-325E760B4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Urbanization for 10 Most Populous Count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F88D7D-0A14-D9A6-AC34-A071EC888B67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41917B6-7656-2A95-1159-A533B41239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5280884"/>
              </p:ext>
            </p:extLst>
          </p:nvPr>
        </p:nvGraphicFramePr>
        <p:xfrm>
          <a:off x="3357196" y="1460141"/>
          <a:ext cx="8391891" cy="4495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E696E512-BBB9-FC09-660C-5CD373AB8D4C}"/>
              </a:ext>
            </a:extLst>
          </p:cNvPr>
          <p:cNvGrpSpPr/>
          <p:nvPr/>
        </p:nvGrpSpPr>
        <p:grpSpPr>
          <a:xfrm>
            <a:off x="487012" y="1460141"/>
            <a:ext cx="3065080" cy="715668"/>
            <a:chOff x="487012" y="1617785"/>
            <a:chExt cx="3065080" cy="715668"/>
          </a:xfrm>
        </p:grpSpPr>
        <p:sp>
          <p:nvSpPr>
            <p:cNvPr id="12" name="Snip Single Corner Rectangle 11">
              <a:extLst>
                <a:ext uri="{FF2B5EF4-FFF2-40B4-BE49-F238E27FC236}">
                  <a16:creationId xmlns:a16="http://schemas.microsoft.com/office/drawing/2014/main" id="{0802E92E-34C9-6789-E438-A457DABDA4B0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062EA6-B56D-76F7-A915-4081FDAC51D0}"/>
                </a:ext>
              </a:extLst>
            </p:cNvPr>
            <p:cNvSpPr txBox="1"/>
            <p:nvPr/>
          </p:nvSpPr>
          <p:spPr>
            <a:xfrm>
              <a:off x="511891" y="1687412"/>
              <a:ext cx="219614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latin typeface="Barlow" pitchFamily="2" charset="77"/>
                </a:rPr>
                <a:t>1960 – </a:t>
              </a:r>
              <a:r>
                <a:rPr lang="en-US" sz="2800" b="1" dirty="0">
                  <a:latin typeface="Barlow" pitchFamily="2" charset="77"/>
                </a:rPr>
                <a:t>34%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0DEC885-99BE-6502-524A-D6FBDD27B9D1}"/>
              </a:ext>
            </a:extLst>
          </p:cNvPr>
          <p:cNvGrpSpPr/>
          <p:nvPr/>
        </p:nvGrpSpPr>
        <p:grpSpPr>
          <a:xfrm>
            <a:off x="487012" y="2389145"/>
            <a:ext cx="3065080" cy="715668"/>
            <a:chOff x="487012" y="1617785"/>
            <a:chExt cx="3065080" cy="715668"/>
          </a:xfrm>
        </p:grpSpPr>
        <p:sp>
          <p:nvSpPr>
            <p:cNvPr id="17" name="Snip Single Corner Rectangle 16">
              <a:extLst>
                <a:ext uri="{FF2B5EF4-FFF2-40B4-BE49-F238E27FC236}">
                  <a16:creationId xmlns:a16="http://schemas.microsoft.com/office/drawing/2014/main" id="{5D70BB0C-2609-65B4-2F4D-D753E14DED31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BEE6598-6567-CB6F-2B9F-05BBD8379D7A}"/>
                </a:ext>
              </a:extLst>
            </p:cNvPr>
            <p:cNvSpPr txBox="1"/>
            <p:nvPr/>
          </p:nvSpPr>
          <p:spPr>
            <a:xfrm>
              <a:off x="511891" y="1687412"/>
              <a:ext cx="219614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solidFill>
                    <a:schemeClr val="bg1"/>
                  </a:solidFill>
                  <a:latin typeface="Barlow" pitchFamily="2" charset="77"/>
                </a:rPr>
                <a:t>Today – </a:t>
              </a:r>
              <a:r>
                <a:rPr lang="en-US" sz="2800" b="1" dirty="0">
                  <a:solidFill>
                    <a:schemeClr val="bg1"/>
                  </a:solidFill>
                  <a:latin typeface="Barlow" pitchFamily="2" charset="77"/>
                </a:rPr>
                <a:t>57%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9D9EC9E-30FC-6710-9A04-119F253C8622}"/>
              </a:ext>
            </a:extLst>
          </p:cNvPr>
          <p:cNvGrpSpPr/>
          <p:nvPr/>
        </p:nvGrpSpPr>
        <p:grpSpPr>
          <a:xfrm>
            <a:off x="487012" y="3318149"/>
            <a:ext cx="3065080" cy="715668"/>
            <a:chOff x="487012" y="1617785"/>
            <a:chExt cx="3065080" cy="715668"/>
          </a:xfrm>
        </p:grpSpPr>
        <p:sp>
          <p:nvSpPr>
            <p:cNvPr id="20" name="Snip Single Corner Rectangle 19">
              <a:extLst>
                <a:ext uri="{FF2B5EF4-FFF2-40B4-BE49-F238E27FC236}">
                  <a16:creationId xmlns:a16="http://schemas.microsoft.com/office/drawing/2014/main" id="{52BE6CBB-2132-CCDB-6AEF-ABA02834CABA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2A5661F-CD33-A44D-DAE0-CE936F762B4A}"/>
                </a:ext>
              </a:extLst>
            </p:cNvPr>
            <p:cNvSpPr txBox="1"/>
            <p:nvPr/>
          </p:nvSpPr>
          <p:spPr>
            <a:xfrm>
              <a:off x="511891" y="1687412"/>
              <a:ext cx="219614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latin typeface="Barlow" pitchFamily="2" charset="77"/>
                </a:rPr>
                <a:t>2050 – </a:t>
              </a:r>
              <a:r>
                <a:rPr lang="en-US" sz="2800" b="1" dirty="0">
                  <a:latin typeface="Barlow" pitchFamily="2" charset="77"/>
                </a:rPr>
                <a:t>68%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795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6D951-5214-0B22-77D7-E730BB836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anada Rural vs Urban Population  </a:t>
            </a:r>
            <a:br>
              <a:rPr lang="en-CA" dirty="0"/>
            </a:br>
            <a:r>
              <a:rPr lang="en-CA" dirty="0"/>
              <a:t>by Decade</a:t>
            </a:r>
          </a:p>
        </p:txBody>
      </p:sp>
      <p:pic>
        <p:nvPicPr>
          <p:cNvPr id="3" name="Picture 2" descr="Output image">
            <a:extLst>
              <a:ext uri="{FF2B5EF4-FFF2-40B4-BE49-F238E27FC236}">
                <a16:creationId xmlns:a16="http://schemas.microsoft.com/office/drawing/2014/main" id="{89239213-FDFE-6730-A45F-BFCCFF088E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01"/>
          <a:stretch/>
        </p:blipFill>
        <p:spPr bwMode="auto">
          <a:xfrm>
            <a:off x="4332289" y="792905"/>
            <a:ext cx="7416800" cy="40138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306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BCDDA3-39D1-60D3-97C8-F284B02F7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anada’s Regions by Share Of Population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5FE5E1B-5C97-64D8-CEC1-CA8F963903FB}"/>
              </a:ext>
            </a:extLst>
          </p:cNvPr>
          <p:cNvGraphicFramePr/>
          <p:nvPr/>
        </p:nvGraphicFramePr>
        <p:xfrm>
          <a:off x="450000" y="1620433"/>
          <a:ext cx="11299088" cy="4416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8196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0C1DE7-A612-2D50-DCB8-116AC5658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ere Canadians Live</a:t>
            </a:r>
            <a:br>
              <a:rPr lang="en-CA" dirty="0"/>
            </a:br>
            <a:r>
              <a:rPr lang="en-CA" dirty="0"/>
              <a:t>2021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59998F1-3532-BB38-4F08-0E080278585B}"/>
              </a:ext>
            </a:extLst>
          </p:cNvPr>
          <p:cNvGraphicFramePr/>
          <p:nvPr/>
        </p:nvGraphicFramePr>
        <p:xfrm>
          <a:off x="3989754" y="572920"/>
          <a:ext cx="7790766" cy="4959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5738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9654F-C8E0-89EF-C7F9-36A84724E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en Fastest Growing Canadian Cities (2000-2024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C6D2E3D-E31E-F80D-D553-6A3BB666F433}"/>
              </a:ext>
            </a:extLst>
          </p:cNvPr>
          <p:cNvGraphicFramePr/>
          <p:nvPr/>
        </p:nvGraphicFramePr>
        <p:xfrm>
          <a:off x="450000" y="1935480"/>
          <a:ext cx="11292000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E6FA315-069E-B3AB-B5DD-90084880B9AD}"/>
              </a:ext>
            </a:extLst>
          </p:cNvPr>
          <p:cNvSpPr txBox="1"/>
          <p:nvPr/>
        </p:nvSpPr>
        <p:spPr>
          <a:xfrm>
            <a:off x="450000" y="1417543"/>
            <a:ext cx="2143215" cy="3167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Growth Percentag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FB630D4-442B-6357-0038-AC95944AB1B5}"/>
              </a:ext>
            </a:extLst>
          </p:cNvPr>
          <p:cNvCxnSpPr/>
          <p:nvPr/>
        </p:nvCxnSpPr>
        <p:spPr>
          <a:xfrm>
            <a:off x="450000" y="1795256"/>
            <a:ext cx="1111716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33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2166D6C-AAD3-4CAB-B6BA-D192067777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556" y="596380"/>
            <a:ext cx="11491415" cy="6077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325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44816-6956-6701-D38D-DBC2281FD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crowd of people walking down a street&#10;&#10;Description automatically generated">
            <a:extLst>
              <a:ext uri="{FF2B5EF4-FFF2-40B4-BE49-F238E27FC236}">
                <a16:creationId xmlns:a16="http://schemas.microsoft.com/office/drawing/2014/main" id="{C2D7E27C-C60F-D2CF-7FE1-26583C8EB2B5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2687" y="0"/>
            <a:ext cx="5479313" cy="5948363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D72910-2DC2-587A-4AFC-180235ED6A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263" y="1792288"/>
            <a:ext cx="5499100" cy="4156075"/>
          </a:xfrm>
        </p:spPr>
        <p:txBody>
          <a:bodyPr/>
          <a:lstStyle/>
          <a:p>
            <a:r>
              <a:rPr lang="en-CA" sz="2800" b="1" dirty="0"/>
              <a:t>Global</a:t>
            </a:r>
            <a:r>
              <a:rPr lang="en-CA" sz="2800" dirty="0"/>
              <a:t> trends.</a:t>
            </a:r>
          </a:p>
          <a:p>
            <a:r>
              <a:rPr lang="en-CA" sz="2800" b="1" dirty="0"/>
              <a:t>Canada</a:t>
            </a:r>
            <a:r>
              <a:rPr lang="en-CA" sz="2800" dirty="0"/>
              <a:t>: growing </a:t>
            </a:r>
            <a:r>
              <a:rPr lang="en-CA" sz="2800" b="1" dirty="0"/>
              <a:t>West</a:t>
            </a:r>
            <a:r>
              <a:rPr lang="en-CA" sz="2800" dirty="0"/>
              <a:t>, declining East.</a:t>
            </a:r>
          </a:p>
          <a:p>
            <a:r>
              <a:rPr lang="en-CA" sz="2800" dirty="0"/>
              <a:t>Expanding </a:t>
            </a:r>
            <a:r>
              <a:rPr lang="en-CA" sz="2800" b="1" dirty="0"/>
              <a:t>suburbs, </a:t>
            </a:r>
            <a:r>
              <a:rPr lang="en-CA" sz="2800" dirty="0"/>
              <a:t>stagnant downtowns.</a:t>
            </a:r>
          </a:p>
          <a:p>
            <a:r>
              <a:rPr lang="en-CA" sz="2800" dirty="0"/>
              <a:t>Happening </a:t>
            </a:r>
            <a:r>
              <a:rPr lang="en-CA" sz="2800" b="1" dirty="0"/>
              <a:t>before COVID</a:t>
            </a:r>
            <a:r>
              <a:rPr lang="en-CA" sz="2800" dirty="0"/>
              <a:t>…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586607-36D3-B059-E769-62B347EF8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pPr lvl="0"/>
            <a:r>
              <a:rPr lang="en-US" dirty="0"/>
              <a:t>Heartlands Shifting</a:t>
            </a:r>
            <a:endParaRPr lang="en-U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9015C0-C1F8-772D-211F-B4481362D65D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300" normalizeH="0" baseline="0" noProof="0" dirty="0">
                <a:ln>
                  <a:noFill/>
                </a:ln>
                <a:solidFill>
                  <a:srgbClr val="103C50">
                    <a:lumMod val="50000"/>
                    <a:lumOff val="50000"/>
                  </a:srgbClr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EMPTY PLANET</a:t>
            </a:r>
          </a:p>
        </p:txBody>
      </p:sp>
    </p:spTree>
    <p:extLst>
      <p:ext uri="{BB962C8B-B14F-4D97-AF65-F5344CB8AC3E}">
        <p14:creationId xmlns:p14="http://schemas.microsoft.com/office/powerpoint/2010/main" val="44788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9876298-B030-B991-265E-3C2C8D906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child with curly hair&#10;&#10;Description automatically generated">
            <a:extLst>
              <a:ext uri="{FF2B5EF4-FFF2-40B4-BE49-F238E27FC236}">
                <a16:creationId xmlns:a16="http://schemas.microsoft.com/office/drawing/2014/main" id="{237EA010-C2B3-4CCA-8C80-C19074C9DEA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DF63954-F1D2-E3C0-2A24-B0A7A26F6171}"/>
              </a:ext>
            </a:extLst>
          </p:cNvPr>
          <p:cNvSpPr/>
          <p:nvPr/>
        </p:nvSpPr>
        <p:spPr>
          <a:xfrm>
            <a:off x="0" y="0"/>
            <a:ext cx="6724185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D41F5D-7F72-461F-E471-21554B595A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RTILI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E208B2-65FD-9ECA-AD49-16F630B71C25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21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C213D338-102E-F835-580D-7DFCD2AE3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4622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1C590-1996-1620-AECA-520E298F3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Replacement Ra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6001A5-9F9D-4362-4F25-07BCC617B350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74B2187-D9A7-9A96-0466-895D041C4917}"/>
              </a:ext>
            </a:extLst>
          </p:cNvPr>
          <p:cNvSpPr txBox="1"/>
          <p:nvPr/>
        </p:nvSpPr>
        <p:spPr>
          <a:xfrm>
            <a:off x="4033348" y="1639270"/>
            <a:ext cx="3629199" cy="378520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23900" b="1" dirty="0">
                <a:solidFill>
                  <a:schemeClr val="bg2"/>
                </a:solidFill>
              </a:rPr>
              <a:t>2.1</a:t>
            </a:r>
          </a:p>
        </p:txBody>
      </p:sp>
    </p:spTree>
    <p:extLst>
      <p:ext uri="{BB962C8B-B14F-4D97-AF65-F5344CB8AC3E}">
        <p14:creationId xmlns:p14="http://schemas.microsoft.com/office/powerpoint/2010/main" val="3714204897"/>
      </p:ext>
    </p:extLst>
  </p:cSld>
  <p:clrMapOvr>
    <a:masterClrMapping/>
  </p:clrMapOvr>
  <p:transition spd="med">
    <p:pull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DCE6ED-9D23-7043-7103-A5FCF337E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496D1AC-AB6F-A874-A6EA-69B7B18C1B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5706166"/>
              </p:ext>
            </p:extLst>
          </p:nvPr>
        </p:nvGraphicFramePr>
        <p:xfrm>
          <a:off x="3804832" y="1460141"/>
          <a:ext cx="7944254" cy="4560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111CDF-045C-A145-C70F-A009AFD0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11299088" cy="715669"/>
          </a:xfrm>
        </p:spPr>
        <p:txBody>
          <a:bodyPr/>
          <a:lstStyle/>
          <a:p>
            <a:r>
              <a:rPr lang="en-US" dirty="0"/>
              <a:t>Fertility Will Continue to Decline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B144C3-68B6-2B62-185B-1110C23C8777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077CB29-D149-3756-66ED-9440943F0E94}"/>
              </a:ext>
            </a:extLst>
          </p:cNvPr>
          <p:cNvGrpSpPr/>
          <p:nvPr/>
        </p:nvGrpSpPr>
        <p:grpSpPr>
          <a:xfrm>
            <a:off x="487012" y="1460141"/>
            <a:ext cx="3065080" cy="715668"/>
            <a:chOff x="487012" y="1617785"/>
            <a:chExt cx="3065080" cy="715668"/>
          </a:xfrm>
        </p:grpSpPr>
        <p:sp>
          <p:nvSpPr>
            <p:cNvPr id="12" name="Snip Single Corner Rectangle 11">
              <a:extLst>
                <a:ext uri="{FF2B5EF4-FFF2-40B4-BE49-F238E27FC236}">
                  <a16:creationId xmlns:a16="http://schemas.microsoft.com/office/drawing/2014/main" id="{E4BE866B-37F6-00C1-5940-2B970EDDD6ED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D2C381-5311-BC28-B4DD-4BAE0EE517D5}"/>
                </a:ext>
              </a:extLst>
            </p:cNvPr>
            <p:cNvSpPr txBox="1"/>
            <p:nvPr/>
          </p:nvSpPr>
          <p:spPr>
            <a:xfrm>
              <a:off x="511890" y="1687412"/>
              <a:ext cx="284530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latin typeface="Barlow" pitchFamily="2" charset="77"/>
                </a:rPr>
                <a:t>1960 – </a:t>
              </a:r>
              <a:r>
                <a:rPr lang="en-US" sz="2800" b="1" dirty="0">
                  <a:latin typeface="Barlow" pitchFamily="2" charset="77"/>
                </a:rPr>
                <a:t>4.7 </a:t>
              </a:r>
              <a:r>
                <a:rPr lang="en-US" sz="2800" dirty="0">
                  <a:latin typeface="Barlow" pitchFamily="2" charset="77"/>
                </a:rPr>
                <a:t>avg.</a:t>
              </a:r>
              <a:r>
                <a:rPr lang="en-US" sz="2800" b="1" dirty="0">
                  <a:latin typeface="Barlow" pitchFamily="2" charset="77"/>
                </a:rPr>
                <a:t>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B79F32B-5AA9-4FB7-4366-5D9C5E7C28EF}"/>
              </a:ext>
            </a:extLst>
          </p:cNvPr>
          <p:cNvGrpSpPr/>
          <p:nvPr/>
        </p:nvGrpSpPr>
        <p:grpSpPr>
          <a:xfrm>
            <a:off x="487012" y="2389145"/>
            <a:ext cx="3065080" cy="715668"/>
            <a:chOff x="487012" y="1617785"/>
            <a:chExt cx="3065080" cy="715668"/>
          </a:xfrm>
        </p:grpSpPr>
        <p:sp>
          <p:nvSpPr>
            <p:cNvPr id="17" name="Snip Single Corner Rectangle 16">
              <a:extLst>
                <a:ext uri="{FF2B5EF4-FFF2-40B4-BE49-F238E27FC236}">
                  <a16:creationId xmlns:a16="http://schemas.microsoft.com/office/drawing/2014/main" id="{04176E4B-368F-A1EF-3BCA-9B356ED51D50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95F638E-0228-8707-EB97-CD5164BEA2C1}"/>
                </a:ext>
              </a:extLst>
            </p:cNvPr>
            <p:cNvSpPr txBox="1"/>
            <p:nvPr/>
          </p:nvSpPr>
          <p:spPr>
            <a:xfrm>
              <a:off x="511891" y="1687412"/>
              <a:ext cx="28453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solidFill>
                    <a:schemeClr val="bg1"/>
                  </a:solidFill>
                  <a:latin typeface="Barlow" pitchFamily="2" charset="77"/>
                </a:rPr>
                <a:t>Today – </a:t>
              </a:r>
              <a:r>
                <a:rPr lang="en-US" sz="2800" b="1" dirty="0">
                  <a:solidFill>
                    <a:schemeClr val="bg1"/>
                  </a:solidFill>
                  <a:latin typeface="Barlow" pitchFamily="2" charset="77"/>
                </a:rPr>
                <a:t>2.3 </a:t>
              </a:r>
              <a:r>
                <a:rPr lang="en-US" sz="2800" dirty="0">
                  <a:solidFill>
                    <a:schemeClr val="bg1"/>
                  </a:solidFill>
                  <a:latin typeface="Barlow" pitchFamily="2" charset="77"/>
                </a:rPr>
                <a:t>avg.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EC7690-2A7A-8A28-496D-DC115E70CA10}"/>
              </a:ext>
            </a:extLst>
          </p:cNvPr>
          <p:cNvGrpSpPr/>
          <p:nvPr/>
        </p:nvGrpSpPr>
        <p:grpSpPr>
          <a:xfrm>
            <a:off x="487012" y="3318149"/>
            <a:ext cx="3065080" cy="715668"/>
            <a:chOff x="487012" y="1617785"/>
            <a:chExt cx="3065080" cy="715668"/>
          </a:xfrm>
        </p:grpSpPr>
        <p:sp>
          <p:nvSpPr>
            <p:cNvPr id="20" name="Snip Single Corner Rectangle 19">
              <a:extLst>
                <a:ext uri="{FF2B5EF4-FFF2-40B4-BE49-F238E27FC236}">
                  <a16:creationId xmlns:a16="http://schemas.microsoft.com/office/drawing/2014/main" id="{94AD4798-539A-7C5F-65A2-59EAF4A83C6E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6379DDD-F915-373C-AF5A-1930D49F30F4}"/>
                </a:ext>
              </a:extLst>
            </p:cNvPr>
            <p:cNvSpPr txBox="1"/>
            <p:nvPr/>
          </p:nvSpPr>
          <p:spPr>
            <a:xfrm>
              <a:off x="511890" y="1687412"/>
              <a:ext cx="271898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latin typeface="Barlow" pitchFamily="2" charset="77"/>
                </a:rPr>
                <a:t>2050 – </a:t>
              </a:r>
              <a:r>
                <a:rPr lang="en-US" sz="2800" b="1" dirty="0">
                  <a:latin typeface="Barlow" pitchFamily="2" charset="77"/>
                </a:rPr>
                <a:t>2.2 </a:t>
              </a:r>
              <a:r>
                <a:rPr lang="en-US" sz="2800" dirty="0">
                  <a:latin typeface="Barlow" pitchFamily="2" charset="77"/>
                </a:rPr>
                <a:t>avg.</a:t>
              </a:r>
              <a:r>
                <a:rPr lang="en-US" sz="2800" b="1" dirty="0">
                  <a:latin typeface="Barlow" pitchFamily="2" charset="77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371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C9E38-4C69-B24B-8E35-FC14BACF0BF6}"/>
              </a:ext>
            </a:extLst>
          </p:cNvPr>
          <p:cNvCxnSpPr>
            <a:cxnSpLocks/>
          </p:cNvCxnSpPr>
          <p:nvPr/>
        </p:nvCxnSpPr>
        <p:spPr>
          <a:xfrm>
            <a:off x="324880" y="664391"/>
            <a:ext cx="1154224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81473AA-7D29-F842-91A8-A13B575909F3}"/>
              </a:ext>
            </a:extLst>
          </p:cNvPr>
          <p:cNvSpPr txBox="1"/>
          <p:nvPr/>
        </p:nvSpPr>
        <p:spPr>
          <a:xfrm>
            <a:off x="378466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</a:rPr>
              <a:t>EMPTY PLAN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CFD01F-51FC-A148-86BC-C64A2377761A}"/>
              </a:ext>
            </a:extLst>
          </p:cNvPr>
          <p:cNvSpPr txBox="1"/>
          <p:nvPr/>
        </p:nvSpPr>
        <p:spPr>
          <a:xfrm>
            <a:off x="8744872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</a:rPr>
              <a:t>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F270D9-A5EA-6D4C-A228-11963A126EDB}"/>
              </a:ext>
            </a:extLst>
          </p:cNvPr>
          <p:cNvSpPr txBox="1"/>
          <p:nvPr/>
        </p:nvSpPr>
        <p:spPr>
          <a:xfrm>
            <a:off x="378465" y="1290600"/>
            <a:ext cx="8803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32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</a:rPr>
              <a:t>Lowest Fertility Rate in Canadian Histo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C91498C-3FB4-F24E-A2AB-ED40A71F02CE}"/>
              </a:ext>
            </a:extLst>
          </p:cNvPr>
          <p:cNvSpPr txBox="1"/>
          <p:nvPr/>
        </p:nvSpPr>
        <p:spPr>
          <a:xfrm>
            <a:off x="378464" y="2397302"/>
            <a:ext cx="1148278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0000" b="1" dirty="0">
                <a:solidFill>
                  <a:srgbClr val="6D95A2"/>
                </a:solidFill>
                <a:latin typeface="Arial" panose="020B0604020202020204" pitchFamily="34" charset="0"/>
              </a:rPr>
              <a:t>1.3</a:t>
            </a:r>
          </a:p>
        </p:txBody>
      </p:sp>
    </p:spTree>
    <p:extLst>
      <p:ext uri="{BB962C8B-B14F-4D97-AF65-F5344CB8AC3E}">
        <p14:creationId xmlns:p14="http://schemas.microsoft.com/office/powerpoint/2010/main" val="2980632431"/>
      </p:ext>
    </p:extLst>
  </p:cSld>
  <p:clrMapOvr>
    <a:masterClrMapping/>
  </p:clrMapOvr>
  <p:transition spd="slow">
    <p:fade thruBlk="1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D2C77E-F1DF-43C6-5666-0A41E913B3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numCol="1"/>
          <a:lstStyle/>
          <a:p>
            <a:r>
              <a:rPr lang="en-CA" b="1" dirty="0"/>
              <a:t>Urbanization</a:t>
            </a:r>
          </a:p>
          <a:p>
            <a:r>
              <a:rPr lang="en-CA" b="1" dirty="0"/>
              <a:t>Empowerment</a:t>
            </a:r>
            <a:r>
              <a:rPr lang="en-CA" dirty="0"/>
              <a:t> of women</a:t>
            </a:r>
          </a:p>
          <a:p>
            <a:r>
              <a:rPr lang="en-CA" dirty="0"/>
              <a:t>Focus on </a:t>
            </a:r>
            <a:r>
              <a:rPr lang="en-CA" b="1" dirty="0"/>
              <a:t>autonomy</a:t>
            </a:r>
          </a:p>
          <a:p>
            <a:r>
              <a:rPr lang="en-CA" dirty="0"/>
              <a:t>Flight from </a:t>
            </a:r>
            <a:r>
              <a:rPr lang="en-CA" b="1" dirty="0"/>
              <a:t>marriage</a:t>
            </a:r>
          </a:p>
          <a:p>
            <a:r>
              <a:rPr lang="en-CA" b="1" dirty="0"/>
              <a:t>Success</a:t>
            </a:r>
            <a:r>
              <a:rPr lang="en-CA" dirty="0"/>
              <a:t> of Government, NGO programs</a:t>
            </a:r>
          </a:p>
          <a:p>
            <a:r>
              <a:rPr lang="en-CA" dirty="0"/>
              <a:t>Gender and age </a:t>
            </a:r>
            <a:r>
              <a:rPr lang="en-CA" b="1" dirty="0"/>
              <a:t>structure</a:t>
            </a:r>
            <a:r>
              <a:rPr lang="en-CA" dirty="0"/>
              <a:t> of popul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A71EB1-F016-0CA8-A5D8-FDCD1D672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y is Fertility Declining?</a:t>
            </a:r>
          </a:p>
        </p:txBody>
      </p:sp>
      <p:pic>
        <p:nvPicPr>
          <p:cNvPr id="6" name="Picture Placeholder 5" descr="A person holding a sign&#10;&#10;Description automatically generated">
            <a:extLst>
              <a:ext uri="{FF2B5EF4-FFF2-40B4-BE49-F238E27FC236}">
                <a16:creationId xmlns:a16="http://schemas.microsoft.com/office/drawing/2014/main" id="{20C7FC74-B76F-D835-2C6D-414F709861AC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2662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FA420-7167-F6ED-D4DA-C84D41C58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rends in Household Composition in Canada (2011-2021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20B1112-15B7-857B-8637-89629ED39C52}"/>
              </a:ext>
            </a:extLst>
          </p:cNvPr>
          <p:cNvGrpSpPr/>
          <p:nvPr/>
        </p:nvGrpSpPr>
        <p:grpSpPr>
          <a:xfrm>
            <a:off x="450000" y="1769501"/>
            <a:ext cx="7840627" cy="4386625"/>
            <a:chOff x="450000" y="1904999"/>
            <a:chExt cx="7244674" cy="4053205"/>
          </a:xfrm>
        </p:grpSpPr>
        <p:pic>
          <p:nvPicPr>
            <p:cNvPr id="3" name="Content Placeholder 3">
              <a:extLst>
                <a:ext uri="{FF2B5EF4-FFF2-40B4-BE49-F238E27FC236}">
                  <a16:creationId xmlns:a16="http://schemas.microsoft.com/office/drawing/2014/main" id="{E3BA8EF4-A1A9-EF2E-C48C-A9A4736A3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0000" y="1904999"/>
              <a:ext cx="7038109" cy="40532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" name="Arrow: Left 1">
              <a:extLst>
                <a:ext uri="{FF2B5EF4-FFF2-40B4-BE49-F238E27FC236}">
                  <a16:creationId xmlns:a16="http://schemas.microsoft.com/office/drawing/2014/main" id="{1B0206F4-D31B-1DC8-71E1-B119C9651F2A}"/>
                </a:ext>
              </a:extLst>
            </p:cNvPr>
            <p:cNvSpPr/>
            <p:nvPr/>
          </p:nvSpPr>
          <p:spPr>
            <a:xfrm>
              <a:off x="7183128" y="2405714"/>
              <a:ext cx="511546" cy="123324"/>
            </a:xfrm>
            <a:prstGeom prst="lef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6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>
            <a:extLst>
              <a:ext uri="{FF2B5EF4-FFF2-40B4-BE49-F238E27FC236}">
                <a16:creationId xmlns:a16="http://schemas.microsoft.com/office/drawing/2014/main" id="{C159A5DC-5DAC-C389-46D2-CE259CBF0C70}"/>
              </a:ext>
            </a:extLst>
          </p:cNvPr>
          <p:cNvSpPr/>
          <p:nvPr/>
        </p:nvSpPr>
        <p:spPr>
          <a:xfrm flipV="1">
            <a:off x="457200" y="0"/>
            <a:ext cx="9707880" cy="5532120"/>
          </a:xfrm>
          <a:prstGeom prst="snip1Rect">
            <a:avLst/>
          </a:prstGeom>
          <a:solidFill>
            <a:schemeClr val="bg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pic>
        <p:nvPicPr>
          <p:cNvPr id="3" name="Picture 2" descr="A cover of a magazine with a slide&#10;&#10;Description automatically generated with medium confidence">
            <a:extLst>
              <a:ext uri="{FF2B5EF4-FFF2-40B4-BE49-F238E27FC236}">
                <a16:creationId xmlns:a16="http://schemas.microsoft.com/office/drawing/2014/main" id="{CF932754-4670-D830-7237-013147E6E9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4320" y="701873"/>
            <a:ext cx="4023359" cy="53483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2006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C2F2B5-C753-4D89-0A20-1DAC2E4F1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EE23F732-13E5-FF3F-4225-A13260E1F18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CD9C436-1FDE-D7D9-C666-7BAE09442100}"/>
              </a:ext>
            </a:extLst>
          </p:cNvPr>
          <p:cNvSpPr/>
          <p:nvPr/>
        </p:nvSpPr>
        <p:spPr>
          <a:xfrm>
            <a:off x="0" y="0"/>
            <a:ext cx="6724185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7EEBB5-80AD-2C6A-722A-874793272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G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412DF2-5EC7-670F-CFA7-25189EA0C0F8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28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A05CC8CF-5CAC-4C02-A2B5-60B6EE8385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3426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6E259-077D-D60F-F8EE-4F1EA4B06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4F376E9-0B50-92FB-0860-85AE3BB845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6864495"/>
              </p:ext>
            </p:extLst>
          </p:nvPr>
        </p:nvGraphicFramePr>
        <p:xfrm>
          <a:off x="3804832" y="1456605"/>
          <a:ext cx="7900156" cy="4560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A93282-15BD-17A2-9472-7AD2D03C2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11299088" cy="715669"/>
          </a:xfrm>
        </p:spPr>
        <p:txBody>
          <a:bodyPr/>
          <a:lstStyle/>
          <a:p>
            <a:r>
              <a:rPr lang="en-US" dirty="0"/>
              <a:t>Life Expectancy </a:t>
            </a:r>
            <a:r>
              <a:rPr lang="en-US" b="0" dirty="0">
                <a:solidFill>
                  <a:schemeClr val="bg2">
                    <a:lumMod val="25000"/>
                    <a:lumOff val="75000"/>
                  </a:schemeClr>
                </a:solidFill>
              </a:rPr>
              <a:t>| </a:t>
            </a:r>
            <a:r>
              <a:rPr lang="en-US" b="0" dirty="0"/>
              <a:t>World’s 10 Most Populous Countrie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481CFD-415D-DFC5-3B05-F9D7FE08C5AE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6561DB9-F148-EB4C-CCD9-DDE9BF387B3A}"/>
              </a:ext>
            </a:extLst>
          </p:cNvPr>
          <p:cNvGrpSpPr/>
          <p:nvPr/>
        </p:nvGrpSpPr>
        <p:grpSpPr>
          <a:xfrm>
            <a:off x="487012" y="1460141"/>
            <a:ext cx="3065080" cy="715668"/>
            <a:chOff x="487012" y="1617785"/>
            <a:chExt cx="3065080" cy="715668"/>
          </a:xfrm>
        </p:grpSpPr>
        <p:sp>
          <p:nvSpPr>
            <p:cNvPr id="12" name="Snip Single Corner Rectangle 11">
              <a:extLst>
                <a:ext uri="{FF2B5EF4-FFF2-40B4-BE49-F238E27FC236}">
                  <a16:creationId xmlns:a16="http://schemas.microsoft.com/office/drawing/2014/main" id="{9C29903A-6883-A09F-F1DA-F839AC96A1C0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E664FD3-0307-4900-D8F9-8802D73563B9}"/>
                </a:ext>
              </a:extLst>
            </p:cNvPr>
            <p:cNvSpPr txBox="1"/>
            <p:nvPr/>
          </p:nvSpPr>
          <p:spPr>
            <a:xfrm>
              <a:off x="511890" y="1687412"/>
              <a:ext cx="284530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latin typeface="Barlow" pitchFamily="2" charset="77"/>
                </a:rPr>
                <a:t>1960 – </a:t>
              </a:r>
              <a:r>
                <a:rPr lang="en-US" sz="2800" b="1" dirty="0">
                  <a:latin typeface="Barlow" pitchFamily="2" charset="77"/>
                </a:rPr>
                <a:t>48 </a:t>
              </a:r>
              <a:r>
                <a:rPr lang="en-US" sz="2800" dirty="0">
                  <a:latin typeface="Barlow" pitchFamily="2" charset="77"/>
                </a:rPr>
                <a:t>avg.</a:t>
              </a:r>
              <a:r>
                <a:rPr lang="en-US" sz="2800" b="1" dirty="0">
                  <a:latin typeface="Barlow" pitchFamily="2" charset="77"/>
                </a:rPr>
                <a:t>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509E244-5499-495A-1F5A-F045B2C24D88}"/>
              </a:ext>
            </a:extLst>
          </p:cNvPr>
          <p:cNvGrpSpPr/>
          <p:nvPr/>
        </p:nvGrpSpPr>
        <p:grpSpPr>
          <a:xfrm>
            <a:off x="487012" y="2389145"/>
            <a:ext cx="3065080" cy="715668"/>
            <a:chOff x="487012" y="1617785"/>
            <a:chExt cx="3065080" cy="715668"/>
          </a:xfrm>
        </p:grpSpPr>
        <p:sp>
          <p:nvSpPr>
            <p:cNvPr id="17" name="Snip Single Corner Rectangle 16">
              <a:extLst>
                <a:ext uri="{FF2B5EF4-FFF2-40B4-BE49-F238E27FC236}">
                  <a16:creationId xmlns:a16="http://schemas.microsoft.com/office/drawing/2014/main" id="{7FAA9B0C-2E35-2D7F-42B1-B1A0949D3E4F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B09FE28-2946-95DB-378E-F4823C2FB6EA}"/>
                </a:ext>
              </a:extLst>
            </p:cNvPr>
            <p:cNvSpPr txBox="1"/>
            <p:nvPr/>
          </p:nvSpPr>
          <p:spPr>
            <a:xfrm>
              <a:off x="511891" y="1687412"/>
              <a:ext cx="28453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solidFill>
                    <a:schemeClr val="bg1"/>
                  </a:solidFill>
                  <a:latin typeface="Barlow" pitchFamily="2" charset="77"/>
                </a:rPr>
                <a:t>Today – </a:t>
              </a:r>
              <a:r>
                <a:rPr lang="en-US" sz="2800" b="1" dirty="0">
                  <a:solidFill>
                    <a:schemeClr val="bg1"/>
                  </a:solidFill>
                  <a:latin typeface="Barlow" pitchFamily="2" charset="77"/>
                </a:rPr>
                <a:t>73 </a:t>
              </a:r>
              <a:r>
                <a:rPr lang="en-US" sz="2800" dirty="0">
                  <a:solidFill>
                    <a:schemeClr val="bg1"/>
                  </a:solidFill>
                  <a:latin typeface="Barlow" pitchFamily="2" charset="77"/>
                </a:rPr>
                <a:t>avg.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562667D-14AB-D5C2-894C-6391D5298D1A}"/>
              </a:ext>
            </a:extLst>
          </p:cNvPr>
          <p:cNvGrpSpPr/>
          <p:nvPr/>
        </p:nvGrpSpPr>
        <p:grpSpPr>
          <a:xfrm>
            <a:off x="487012" y="3318149"/>
            <a:ext cx="3065080" cy="715668"/>
            <a:chOff x="487012" y="1617785"/>
            <a:chExt cx="3065080" cy="715668"/>
          </a:xfrm>
        </p:grpSpPr>
        <p:sp>
          <p:nvSpPr>
            <p:cNvPr id="20" name="Snip Single Corner Rectangle 19">
              <a:extLst>
                <a:ext uri="{FF2B5EF4-FFF2-40B4-BE49-F238E27FC236}">
                  <a16:creationId xmlns:a16="http://schemas.microsoft.com/office/drawing/2014/main" id="{AAFEEF61-17EA-5C45-47EA-F0B7F6DD041D}"/>
                </a:ext>
              </a:extLst>
            </p:cNvPr>
            <p:cNvSpPr/>
            <p:nvPr/>
          </p:nvSpPr>
          <p:spPr>
            <a:xfrm flipV="1">
              <a:off x="487012" y="1617785"/>
              <a:ext cx="3065080" cy="715668"/>
            </a:xfrm>
            <a:prstGeom prst="snip1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112000"/>
                </a:lnSpc>
                <a:spcBef>
                  <a:spcPts val="400"/>
                </a:spcBef>
                <a:spcAft>
                  <a:spcPts val="400"/>
                </a:spcAft>
              </a:pPr>
              <a:endParaRPr lang="en-CA" sz="2400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8FB599C-DD18-1AB9-F922-89BC019CC4D6}"/>
                </a:ext>
              </a:extLst>
            </p:cNvPr>
            <p:cNvSpPr txBox="1"/>
            <p:nvPr/>
          </p:nvSpPr>
          <p:spPr>
            <a:xfrm>
              <a:off x="511890" y="1687412"/>
              <a:ext cx="271898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/>
              <a:r>
                <a:rPr lang="en-US" sz="2800" dirty="0">
                  <a:latin typeface="Barlow" pitchFamily="2" charset="77"/>
                </a:rPr>
                <a:t>2050 – </a:t>
              </a:r>
              <a:r>
                <a:rPr lang="en-US" sz="2800" b="1" dirty="0">
                  <a:latin typeface="Barlow" pitchFamily="2" charset="77"/>
                </a:rPr>
                <a:t>77 </a:t>
              </a:r>
              <a:r>
                <a:rPr lang="en-US" sz="2800" dirty="0">
                  <a:latin typeface="Barlow" pitchFamily="2" charset="77"/>
                </a:rPr>
                <a:t>avg.</a:t>
              </a:r>
              <a:r>
                <a:rPr lang="en-US" sz="2800" b="1" dirty="0">
                  <a:latin typeface="Barlow" pitchFamily="2" charset="77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6250474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roup of people crossing a street&#10;&#10;Description automatically generated">
            <a:extLst>
              <a:ext uri="{FF2B5EF4-FFF2-40B4-BE49-F238E27FC236}">
                <a16:creationId xmlns:a16="http://schemas.microsoft.com/office/drawing/2014/main" id="{738AB015-CE97-70E9-DE6C-99980896B4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E90BC79-6C10-E41D-5033-0F92AC1B0AC0}"/>
              </a:ext>
            </a:extLst>
          </p:cNvPr>
          <p:cNvSpPr/>
          <p:nvPr/>
        </p:nvSpPr>
        <p:spPr>
          <a:xfrm>
            <a:off x="0" y="0"/>
            <a:ext cx="6724185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03BF07-C706-82B5-2008-C903777F8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z="5400" i="1" dirty="0"/>
              <a:t>Humanity Evolving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889705-16F4-118F-86A7-8B2859A17F3A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3</a:t>
            </a:fld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811667"/>
      </p:ext>
    </p:extLst>
  </p:cSld>
  <p:clrMapOvr>
    <a:masterClrMapping/>
  </p:clrMapOvr>
  <p:transition spd="med">
    <p:pull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0B3BF-776A-9CC2-E36A-FE66F6C6A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verage Lifespan Of Canadian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7F4711B-BBE9-BCFD-1485-6773AD76A4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182783"/>
              </p:ext>
            </p:extLst>
          </p:nvPr>
        </p:nvGraphicFramePr>
        <p:xfrm>
          <a:off x="450000" y="1528643"/>
          <a:ext cx="9867480" cy="4232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290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6B522-32CD-472C-B1F8-5834EF52A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8702" y="212944"/>
            <a:ext cx="8654595" cy="664797"/>
          </a:xfrm>
        </p:spPr>
        <p:txBody>
          <a:bodyPr/>
          <a:lstStyle/>
          <a:p>
            <a:r>
              <a:rPr lang="en-US" sz="2400" dirty="0"/>
              <a:t>Causes of Death that Most Contribute to Differences in Life Expectancy at Birth Globally for Men and Women, 2016</a:t>
            </a:r>
            <a:endParaRPr lang="en-US" sz="3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C8679D-3DC2-4C2D-B6BF-69FA77EBC9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663" b="6210"/>
          <a:stretch/>
        </p:blipFill>
        <p:spPr>
          <a:xfrm>
            <a:off x="1371600" y="1672948"/>
            <a:ext cx="9982200" cy="45101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96C1A9-6370-4CC7-BB01-3B5FCB7ABD94}"/>
              </a:ext>
            </a:extLst>
          </p:cNvPr>
          <p:cNvSpPr txBox="1"/>
          <p:nvPr/>
        </p:nvSpPr>
        <p:spPr>
          <a:xfrm>
            <a:off x="2510379" y="5697987"/>
            <a:ext cx="7639683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defTabSz="924260">
              <a:defRPr/>
            </a:pPr>
            <a:r>
              <a:rPr lang="en-US" sz="700" dirty="0">
                <a:solidFill>
                  <a:srgbClr val="888B8D"/>
                </a:solidFill>
                <a:latin typeface="Century Gothic" panose="020B0502020202020204" pitchFamily="34" charset="0"/>
              </a:rPr>
              <a:t>Source: WHO global health estimates 2016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9BBBCED-D7E9-4787-BC45-89B221F692B9}"/>
              </a:ext>
            </a:extLst>
          </p:cNvPr>
          <p:cNvGrpSpPr/>
          <p:nvPr/>
        </p:nvGrpSpPr>
        <p:grpSpPr>
          <a:xfrm>
            <a:off x="2510379" y="877741"/>
            <a:ext cx="7532913" cy="537023"/>
            <a:chOff x="187568" y="2349390"/>
            <a:chExt cx="5064370" cy="18156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7B4826D-56E2-4A56-AF70-880CC7AFD9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3422" r="48107" b="83001"/>
            <a:stretch/>
          </p:blipFill>
          <p:spPr>
            <a:xfrm>
              <a:off x="2681386" y="2374844"/>
              <a:ext cx="2570552" cy="1561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2E0BB1C-923E-4576-83CD-46FD074A6F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0258" r="48107" b="86286"/>
            <a:stretch/>
          </p:blipFill>
          <p:spPr>
            <a:xfrm>
              <a:off x="187568" y="2349390"/>
              <a:ext cx="2570552" cy="150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39751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standing in a line&#10;&#10;Description automatically generated">
            <a:extLst>
              <a:ext uri="{FF2B5EF4-FFF2-40B4-BE49-F238E27FC236}">
                <a16:creationId xmlns:a16="http://schemas.microsoft.com/office/drawing/2014/main" id="{D733B6A7-3266-E665-6EF6-DEA7BD88FA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09" t="30610" b="15274"/>
          <a:stretch/>
        </p:blipFill>
        <p:spPr>
          <a:xfrm>
            <a:off x="1320789" y="1327821"/>
            <a:ext cx="9550422" cy="19729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ECECA40-AE66-CAE5-E743-1987406F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lipping the Pyramid…</a:t>
            </a:r>
          </a:p>
        </p:txBody>
      </p:sp>
      <p:pic>
        <p:nvPicPr>
          <p:cNvPr id="5" name="Picture 4" descr="A group of people standing in a line&#10;&#10;Description automatically generated">
            <a:extLst>
              <a:ext uri="{FF2B5EF4-FFF2-40B4-BE49-F238E27FC236}">
                <a16:creationId xmlns:a16="http://schemas.microsoft.com/office/drawing/2014/main" id="{D9EF9509-6D0D-8EEF-C72A-41EFF7F272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431" b="20000"/>
          <a:stretch/>
        </p:blipFill>
        <p:spPr>
          <a:xfrm>
            <a:off x="4363379" y="3300761"/>
            <a:ext cx="3375567" cy="1706995"/>
          </a:xfrm>
          <a:prstGeom prst="rect">
            <a:avLst/>
          </a:prstGeom>
        </p:spPr>
      </p:pic>
      <p:pic>
        <p:nvPicPr>
          <p:cNvPr id="9" name="Picture 8" descr="A group of children sitting together&#10;&#10;Description automatically generated">
            <a:extLst>
              <a:ext uri="{FF2B5EF4-FFF2-40B4-BE49-F238E27FC236}">
                <a16:creationId xmlns:a16="http://schemas.microsoft.com/office/drawing/2014/main" id="{E20BCD63-1A10-6C1D-17F1-93716F8201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9795" y="5045953"/>
            <a:ext cx="1412410" cy="96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78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08FCEA-9F0C-6797-B77F-4C6CA9B38031}"/>
              </a:ext>
            </a:extLst>
          </p:cNvPr>
          <p:cNvSpPr/>
          <p:nvPr/>
        </p:nvSpPr>
        <p:spPr>
          <a:xfrm>
            <a:off x="479051" y="1062682"/>
            <a:ext cx="4475075" cy="755359"/>
          </a:xfrm>
          <a:prstGeom prst="rect">
            <a:avLst/>
          </a:prstGeom>
          <a:solidFill>
            <a:schemeClr val="bg2">
              <a:alpha val="1011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0F5F7-6322-5EE9-74C9-249C6C61694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82932" y="6219235"/>
            <a:ext cx="360037" cy="365125"/>
          </a:xfrm>
        </p:spPr>
        <p:txBody>
          <a:bodyPr/>
          <a:lstStyle/>
          <a:p>
            <a:pPr defTabSz="914377"/>
            <a:fld id="{D61AABEC-672F-4B68-B914-690DA978312C}" type="slidenum">
              <a:rPr lang="en-GB">
                <a:solidFill>
                  <a:srgbClr val="2F469C">
                    <a:lumMod val="75000"/>
                  </a:srgbClr>
                </a:solidFill>
                <a:latin typeface="Arial Black"/>
              </a:rPr>
              <a:pPr defTabSz="914377"/>
              <a:t>33</a:t>
            </a:fld>
            <a:r>
              <a:rPr lang="en-GB">
                <a:solidFill>
                  <a:srgbClr val="2F469C">
                    <a:lumMod val="75000"/>
                  </a:srgbClr>
                </a:solidFill>
                <a:latin typeface="Arial Black"/>
              </a:rPr>
              <a:t> ‒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232F4DC-1C94-1227-E1C4-363B7C895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ADA population by age and se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AAF018-2CD4-6795-3DF0-13BCD244FAB4}"/>
              </a:ext>
            </a:extLst>
          </p:cNvPr>
          <p:cNvSpPr txBox="1"/>
          <p:nvPr/>
        </p:nvSpPr>
        <p:spPr>
          <a:xfrm>
            <a:off x="1234628" y="1251932"/>
            <a:ext cx="29639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2000" b="1" dirty="0">
                <a:solidFill>
                  <a:srgbClr val="2F469C"/>
                </a:solidFill>
                <a:latin typeface="Arial"/>
              </a:rPr>
              <a:t>CANADA</a:t>
            </a: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74CB6FCB-6ADC-C402-CCE4-07A028318AC1}"/>
              </a:ext>
            </a:extLst>
          </p:cNvPr>
          <p:cNvGraphicFramePr>
            <a:graphicFrameLocks noGrp="1"/>
          </p:cNvGraphicFramePr>
          <p:nvPr/>
        </p:nvGraphicFramePr>
        <p:xfrm>
          <a:off x="479051" y="1818040"/>
          <a:ext cx="4475076" cy="422143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761233">
                  <a:extLst>
                    <a:ext uri="{9D8B030D-6E8A-4147-A177-3AD203B41FA5}">
                      <a16:colId xmlns:a16="http://schemas.microsoft.com/office/drawing/2014/main" val="2185152550"/>
                    </a:ext>
                  </a:extLst>
                </a:gridCol>
                <a:gridCol w="1713843">
                  <a:extLst>
                    <a:ext uri="{9D8B030D-6E8A-4147-A177-3AD203B41FA5}">
                      <a16:colId xmlns:a16="http://schemas.microsoft.com/office/drawing/2014/main" val="2589733917"/>
                    </a:ext>
                  </a:extLst>
                </a:gridCol>
              </a:tblGrid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Median Age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41</a:t>
                      </a:r>
                    </a:p>
                  </a:txBody>
                  <a:tcPr marL="137160" marR="137160" marT="137160" marB="137160" anchor="ctr">
                    <a:lnT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755190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Longevity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82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258211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ercentage 65+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20%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364743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Fertility Rate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1.3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537687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eak Fertility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3.93 (1959)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867453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elow Replacement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1972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633400"/>
                  </a:ext>
                </a:extLst>
              </a:tr>
            </a:tbl>
          </a:graphicData>
        </a:graphic>
      </p:graphicFrame>
      <p:sp>
        <p:nvSpPr>
          <p:cNvPr id="20" name="Freeform 29">
            <a:extLst>
              <a:ext uri="{FF2B5EF4-FFF2-40B4-BE49-F238E27FC236}">
                <a16:creationId xmlns:a16="http://schemas.microsoft.com/office/drawing/2014/main" id="{BA4776A9-9C74-2101-BFE1-89F6896DEC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82720" y="1198199"/>
            <a:ext cx="477259" cy="480132"/>
          </a:xfrm>
          <a:custGeom>
            <a:avLst/>
            <a:gdLst>
              <a:gd name="T0" fmla="*/ 7060 w 7204"/>
              <a:gd name="T1" fmla="*/ 7103 h 7239"/>
              <a:gd name="T2" fmla="*/ 5691 w 7204"/>
              <a:gd name="T3" fmla="*/ 3658 h 7239"/>
              <a:gd name="T4" fmla="*/ 6650 w 7204"/>
              <a:gd name="T5" fmla="*/ 1294 h 7239"/>
              <a:gd name="T6" fmla="*/ 3665 w 7204"/>
              <a:gd name="T7" fmla="*/ 1274 h 7239"/>
              <a:gd name="T8" fmla="*/ 2829 w 7204"/>
              <a:gd name="T9" fmla="*/ 3722 h 7239"/>
              <a:gd name="T10" fmla="*/ 3210 w 7204"/>
              <a:gd name="T11" fmla="*/ 2330 h 7239"/>
              <a:gd name="T12" fmla="*/ 3418 w 7204"/>
              <a:gd name="T13" fmla="*/ 1071 h 7239"/>
              <a:gd name="T14" fmla="*/ 605 w 7204"/>
              <a:gd name="T15" fmla="*/ 1757 h 7239"/>
              <a:gd name="T16" fmla="*/ 1517 w 7204"/>
              <a:gd name="T17" fmla="*/ 3380 h 7239"/>
              <a:gd name="T18" fmla="*/ 4683 w 7204"/>
              <a:gd name="T19" fmla="*/ 7036 h 7239"/>
              <a:gd name="T20" fmla="*/ 4179 w 7204"/>
              <a:gd name="T21" fmla="*/ 6816 h 7239"/>
              <a:gd name="T22" fmla="*/ 2814 w 7204"/>
              <a:gd name="T23" fmla="*/ 7037 h 7239"/>
              <a:gd name="T24" fmla="*/ 3125 w 7204"/>
              <a:gd name="T25" fmla="*/ 6100 h 7239"/>
              <a:gd name="T26" fmla="*/ 4642 w 7204"/>
              <a:gd name="T27" fmla="*/ 6663 h 7239"/>
              <a:gd name="T28" fmla="*/ 3934 w 7204"/>
              <a:gd name="T29" fmla="*/ 4406 h 7239"/>
              <a:gd name="T30" fmla="*/ 3857 w 7204"/>
              <a:gd name="T31" fmla="*/ 5570 h 7239"/>
              <a:gd name="T32" fmla="*/ 2997 w 7204"/>
              <a:gd name="T33" fmla="*/ 4925 h 7239"/>
              <a:gd name="T34" fmla="*/ 3569 w 7204"/>
              <a:gd name="T35" fmla="*/ 5828 h 7239"/>
              <a:gd name="T36" fmla="*/ 3845 w 7204"/>
              <a:gd name="T37" fmla="*/ 6040 h 7239"/>
              <a:gd name="T38" fmla="*/ 6674 w 7204"/>
              <a:gd name="T39" fmla="*/ 7038 h 7239"/>
              <a:gd name="T40" fmla="*/ 6217 w 7204"/>
              <a:gd name="T41" fmla="*/ 3997 h 7239"/>
              <a:gd name="T42" fmla="*/ 6290 w 7204"/>
              <a:gd name="T43" fmla="*/ 5040 h 7239"/>
              <a:gd name="T44" fmla="*/ 4788 w 7204"/>
              <a:gd name="T45" fmla="*/ 6302 h 7239"/>
              <a:gd name="T46" fmla="*/ 4399 w 7204"/>
              <a:gd name="T47" fmla="*/ 5154 h 7239"/>
              <a:gd name="T48" fmla="*/ 5914 w 7204"/>
              <a:gd name="T49" fmla="*/ 4666 h 7239"/>
              <a:gd name="T50" fmla="*/ 4586 w 7204"/>
              <a:gd name="T51" fmla="*/ 4491 h 7239"/>
              <a:gd name="T52" fmla="*/ 4106 w 7204"/>
              <a:gd name="T53" fmla="*/ 3616 h 7239"/>
              <a:gd name="T54" fmla="*/ 4413 w 7204"/>
              <a:gd name="T55" fmla="*/ 4722 h 7239"/>
              <a:gd name="T56" fmla="*/ 5406 w 7204"/>
              <a:gd name="T57" fmla="*/ 4337 h 7239"/>
              <a:gd name="T58" fmla="*/ 4575 w 7204"/>
              <a:gd name="T59" fmla="*/ 3880 h 7239"/>
              <a:gd name="T60" fmla="*/ 5486 w 7204"/>
              <a:gd name="T61" fmla="*/ 3661 h 7239"/>
              <a:gd name="T62" fmla="*/ 4195 w 7204"/>
              <a:gd name="T63" fmla="*/ 1726 h 7239"/>
              <a:gd name="T64" fmla="*/ 6131 w 7204"/>
              <a:gd name="T65" fmla="*/ 2090 h 7239"/>
              <a:gd name="T66" fmla="*/ 5161 w 7204"/>
              <a:gd name="T67" fmla="*/ 3300 h 7239"/>
              <a:gd name="T68" fmla="*/ 6468 w 7204"/>
              <a:gd name="T69" fmla="*/ 1803 h 7239"/>
              <a:gd name="T70" fmla="*/ 5712 w 7204"/>
              <a:gd name="T71" fmla="*/ 3365 h 7239"/>
              <a:gd name="T72" fmla="*/ 4140 w 7204"/>
              <a:gd name="T73" fmla="*/ 1528 h 7239"/>
              <a:gd name="T74" fmla="*/ 3999 w 7204"/>
              <a:gd name="T75" fmla="*/ 3414 h 7239"/>
              <a:gd name="T76" fmla="*/ 2822 w 7204"/>
              <a:gd name="T77" fmla="*/ 4422 h 7239"/>
              <a:gd name="T78" fmla="*/ 4371 w 7204"/>
              <a:gd name="T79" fmla="*/ 4496 h 7239"/>
              <a:gd name="T80" fmla="*/ 2840 w 7204"/>
              <a:gd name="T81" fmla="*/ 4495 h 7239"/>
              <a:gd name="T82" fmla="*/ 2795 w 7204"/>
              <a:gd name="T83" fmla="*/ 4939 h 7239"/>
              <a:gd name="T84" fmla="*/ 2488 w 7204"/>
              <a:gd name="T85" fmla="*/ 3782 h 7239"/>
              <a:gd name="T86" fmla="*/ 2366 w 7204"/>
              <a:gd name="T87" fmla="*/ 3458 h 7239"/>
              <a:gd name="T88" fmla="*/ 3217 w 7204"/>
              <a:gd name="T89" fmla="*/ 1804 h 7239"/>
              <a:gd name="T90" fmla="*/ 969 w 7204"/>
              <a:gd name="T91" fmla="*/ 1574 h 7239"/>
              <a:gd name="T92" fmla="*/ 829 w 7204"/>
              <a:gd name="T93" fmla="*/ 1241 h 7239"/>
              <a:gd name="T94" fmla="*/ 3274 w 7204"/>
              <a:gd name="T95" fmla="*/ 1536 h 7239"/>
              <a:gd name="T96" fmla="*/ 2873 w 7204"/>
              <a:gd name="T97" fmla="*/ 1099 h 7239"/>
              <a:gd name="T98" fmla="*/ 1073 w 7204"/>
              <a:gd name="T99" fmla="*/ 1748 h 7239"/>
              <a:gd name="T100" fmla="*/ 2762 w 7204"/>
              <a:gd name="T101" fmla="*/ 1291 h 7239"/>
              <a:gd name="T102" fmla="*/ 2485 w 7204"/>
              <a:gd name="T103" fmla="*/ 3194 h 7239"/>
              <a:gd name="T104" fmla="*/ 1995 w 7204"/>
              <a:gd name="T105" fmla="*/ 3300 h 7239"/>
              <a:gd name="T106" fmla="*/ 1732 w 7204"/>
              <a:gd name="T107" fmla="*/ 4225 h 7239"/>
              <a:gd name="T108" fmla="*/ 1244 w 7204"/>
              <a:gd name="T109" fmla="*/ 3933 h 7239"/>
              <a:gd name="T110" fmla="*/ 2041 w 7204"/>
              <a:gd name="T111" fmla="*/ 4933 h 7239"/>
              <a:gd name="T112" fmla="*/ 2664 w 7204"/>
              <a:gd name="T113" fmla="*/ 4164 h 7239"/>
              <a:gd name="T114" fmla="*/ 2807 w 7204"/>
              <a:gd name="T115" fmla="*/ 5158 h 7239"/>
              <a:gd name="T116" fmla="*/ 2409 w 7204"/>
              <a:gd name="T117" fmla="*/ 6324 h 7239"/>
              <a:gd name="T118" fmla="*/ 1094 w 7204"/>
              <a:gd name="T119" fmla="*/ 4978 h 7239"/>
              <a:gd name="T120" fmla="*/ 879 w 7204"/>
              <a:gd name="T121" fmla="*/ 5663 h 7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04" h="7239">
                <a:moveTo>
                  <a:pt x="43" y="6309"/>
                </a:moveTo>
                <a:cubicBezTo>
                  <a:pt x="1" y="6683"/>
                  <a:pt x="1" y="6683"/>
                  <a:pt x="2" y="6732"/>
                </a:cubicBezTo>
                <a:cubicBezTo>
                  <a:pt x="2" y="6740"/>
                  <a:pt x="2" y="6740"/>
                  <a:pt x="2" y="6740"/>
                </a:cubicBezTo>
                <a:cubicBezTo>
                  <a:pt x="0" y="6880"/>
                  <a:pt x="50" y="7008"/>
                  <a:pt x="141" y="7100"/>
                </a:cubicBezTo>
                <a:cubicBezTo>
                  <a:pt x="231" y="7191"/>
                  <a:pt x="353" y="7239"/>
                  <a:pt x="494" y="7239"/>
                </a:cubicBezTo>
                <a:cubicBezTo>
                  <a:pt x="1417" y="7239"/>
                  <a:pt x="1417" y="7239"/>
                  <a:pt x="1417" y="7239"/>
                </a:cubicBezTo>
                <a:cubicBezTo>
                  <a:pt x="6710" y="7239"/>
                  <a:pt x="6710" y="7239"/>
                  <a:pt x="6710" y="7239"/>
                </a:cubicBezTo>
                <a:cubicBezTo>
                  <a:pt x="6852" y="7239"/>
                  <a:pt x="6973" y="7192"/>
                  <a:pt x="7060" y="7103"/>
                </a:cubicBezTo>
                <a:cubicBezTo>
                  <a:pt x="7151" y="7011"/>
                  <a:pt x="7204" y="6875"/>
                  <a:pt x="7202" y="6739"/>
                </a:cubicBezTo>
                <a:cubicBezTo>
                  <a:pt x="7202" y="6731"/>
                  <a:pt x="7202" y="6731"/>
                  <a:pt x="7202" y="6731"/>
                </a:cubicBezTo>
                <a:cubicBezTo>
                  <a:pt x="7203" y="6686"/>
                  <a:pt x="7203" y="6686"/>
                  <a:pt x="7148" y="6196"/>
                </a:cubicBezTo>
                <a:cubicBezTo>
                  <a:pt x="7113" y="5886"/>
                  <a:pt x="7054" y="5367"/>
                  <a:pt x="6959" y="4509"/>
                </a:cubicBezTo>
                <a:cubicBezTo>
                  <a:pt x="6959" y="4509"/>
                  <a:pt x="6959" y="4509"/>
                  <a:pt x="6959" y="4509"/>
                </a:cubicBezTo>
                <a:cubicBezTo>
                  <a:pt x="6926" y="4239"/>
                  <a:pt x="6814" y="4054"/>
                  <a:pt x="6607" y="3928"/>
                </a:cubicBezTo>
                <a:cubicBezTo>
                  <a:pt x="6480" y="3850"/>
                  <a:pt x="6375" y="3825"/>
                  <a:pt x="6029" y="3741"/>
                </a:cubicBezTo>
                <a:cubicBezTo>
                  <a:pt x="5933" y="3718"/>
                  <a:pt x="5824" y="3691"/>
                  <a:pt x="5691" y="3658"/>
                </a:cubicBezTo>
                <a:cubicBezTo>
                  <a:pt x="5687" y="3657"/>
                  <a:pt x="5687" y="3657"/>
                  <a:pt x="5687" y="3657"/>
                </a:cubicBezTo>
                <a:cubicBezTo>
                  <a:pt x="5687" y="3616"/>
                  <a:pt x="5687" y="3616"/>
                  <a:pt x="5687" y="3616"/>
                </a:cubicBezTo>
                <a:cubicBezTo>
                  <a:pt x="6314" y="3616"/>
                  <a:pt x="6314" y="3616"/>
                  <a:pt x="6314" y="3616"/>
                </a:cubicBezTo>
                <a:cubicBezTo>
                  <a:pt x="6461" y="3616"/>
                  <a:pt x="6583" y="3496"/>
                  <a:pt x="6584" y="3349"/>
                </a:cubicBezTo>
                <a:cubicBezTo>
                  <a:pt x="6602" y="3043"/>
                  <a:pt x="6617" y="2800"/>
                  <a:pt x="6628" y="2605"/>
                </a:cubicBezTo>
                <a:cubicBezTo>
                  <a:pt x="6667" y="1952"/>
                  <a:pt x="6673" y="1852"/>
                  <a:pt x="6669" y="1804"/>
                </a:cubicBezTo>
                <a:cubicBezTo>
                  <a:pt x="6669" y="1786"/>
                  <a:pt x="6669" y="1766"/>
                  <a:pt x="6669" y="1744"/>
                </a:cubicBezTo>
                <a:cubicBezTo>
                  <a:pt x="6670" y="1608"/>
                  <a:pt x="6671" y="1402"/>
                  <a:pt x="6650" y="1294"/>
                </a:cubicBezTo>
                <a:cubicBezTo>
                  <a:pt x="6608" y="1009"/>
                  <a:pt x="6467" y="720"/>
                  <a:pt x="6263" y="503"/>
                </a:cubicBezTo>
                <a:cubicBezTo>
                  <a:pt x="6256" y="495"/>
                  <a:pt x="6256" y="495"/>
                  <a:pt x="6256" y="495"/>
                </a:cubicBezTo>
                <a:cubicBezTo>
                  <a:pt x="6051" y="278"/>
                  <a:pt x="5739" y="111"/>
                  <a:pt x="5556" y="76"/>
                </a:cubicBezTo>
                <a:cubicBezTo>
                  <a:pt x="5274" y="21"/>
                  <a:pt x="4866" y="0"/>
                  <a:pt x="4527" y="213"/>
                </a:cubicBezTo>
                <a:cubicBezTo>
                  <a:pt x="4380" y="305"/>
                  <a:pt x="4294" y="413"/>
                  <a:pt x="4256" y="469"/>
                </a:cubicBezTo>
                <a:cubicBezTo>
                  <a:pt x="4255" y="470"/>
                  <a:pt x="4255" y="470"/>
                  <a:pt x="4255" y="470"/>
                </a:cubicBezTo>
                <a:cubicBezTo>
                  <a:pt x="4253" y="471"/>
                  <a:pt x="4253" y="471"/>
                  <a:pt x="4253" y="471"/>
                </a:cubicBezTo>
                <a:cubicBezTo>
                  <a:pt x="3944" y="558"/>
                  <a:pt x="3741" y="836"/>
                  <a:pt x="3665" y="1274"/>
                </a:cubicBezTo>
                <a:cubicBezTo>
                  <a:pt x="3611" y="1588"/>
                  <a:pt x="3640" y="1882"/>
                  <a:pt x="3644" y="1915"/>
                </a:cubicBezTo>
                <a:cubicBezTo>
                  <a:pt x="3680" y="2483"/>
                  <a:pt x="3699" y="2839"/>
                  <a:pt x="3710" y="3051"/>
                </a:cubicBezTo>
                <a:cubicBezTo>
                  <a:pt x="3730" y="3421"/>
                  <a:pt x="3730" y="3421"/>
                  <a:pt x="3765" y="3481"/>
                </a:cubicBezTo>
                <a:cubicBezTo>
                  <a:pt x="3771" y="3490"/>
                  <a:pt x="3771" y="3490"/>
                  <a:pt x="3771" y="3490"/>
                </a:cubicBezTo>
                <a:cubicBezTo>
                  <a:pt x="3760" y="3489"/>
                  <a:pt x="3760" y="3489"/>
                  <a:pt x="3760" y="3489"/>
                </a:cubicBezTo>
                <a:cubicBezTo>
                  <a:pt x="3454" y="3440"/>
                  <a:pt x="3151" y="3532"/>
                  <a:pt x="2927" y="3744"/>
                </a:cubicBezTo>
                <a:cubicBezTo>
                  <a:pt x="2925" y="3746"/>
                  <a:pt x="2925" y="3746"/>
                  <a:pt x="2925" y="3746"/>
                </a:cubicBezTo>
                <a:cubicBezTo>
                  <a:pt x="2829" y="3722"/>
                  <a:pt x="2829" y="3722"/>
                  <a:pt x="2829" y="3722"/>
                </a:cubicBezTo>
                <a:cubicBezTo>
                  <a:pt x="2824" y="3719"/>
                  <a:pt x="2599" y="3611"/>
                  <a:pt x="2573" y="3599"/>
                </a:cubicBezTo>
                <a:cubicBezTo>
                  <a:pt x="2570" y="3597"/>
                  <a:pt x="2570" y="3597"/>
                  <a:pt x="2570" y="3597"/>
                </a:cubicBezTo>
                <a:cubicBezTo>
                  <a:pt x="2570" y="3377"/>
                  <a:pt x="2570" y="3377"/>
                  <a:pt x="2570" y="3377"/>
                </a:cubicBezTo>
                <a:cubicBezTo>
                  <a:pt x="2573" y="3376"/>
                  <a:pt x="2573" y="3376"/>
                  <a:pt x="2573" y="3376"/>
                </a:cubicBezTo>
                <a:cubicBezTo>
                  <a:pt x="3009" y="3159"/>
                  <a:pt x="3142" y="2761"/>
                  <a:pt x="3180" y="2600"/>
                </a:cubicBezTo>
                <a:cubicBezTo>
                  <a:pt x="3181" y="2594"/>
                  <a:pt x="3182" y="2592"/>
                  <a:pt x="3182" y="2590"/>
                </a:cubicBezTo>
                <a:cubicBezTo>
                  <a:pt x="3201" y="2506"/>
                  <a:pt x="3210" y="2420"/>
                  <a:pt x="3210" y="2334"/>
                </a:cubicBezTo>
                <a:cubicBezTo>
                  <a:pt x="3210" y="2330"/>
                  <a:pt x="3210" y="2330"/>
                  <a:pt x="3210" y="2330"/>
                </a:cubicBezTo>
                <a:cubicBezTo>
                  <a:pt x="3214" y="2328"/>
                  <a:pt x="3214" y="2328"/>
                  <a:pt x="3214" y="2328"/>
                </a:cubicBezTo>
                <a:cubicBezTo>
                  <a:pt x="3408" y="2286"/>
                  <a:pt x="3543" y="2135"/>
                  <a:pt x="3543" y="1960"/>
                </a:cubicBezTo>
                <a:cubicBezTo>
                  <a:pt x="3543" y="1889"/>
                  <a:pt x="3520" y="1820"/>
                  <a:pt x="3477" y="1760"/>
                </a:cubicBezTo>
                <a:cubicBezTo>
                  <a:pt x="3476" y="1759"/>
                  <a:pt x="3476" y="1759"/>
                  <a:pt x="3476" y="1759"/>
                </a:cubicBezTo>
                <a:cubicBezTo>
                  <a:pt x="3476" y="1757"/>
                  <a:pt x="3476" y="1757"/>
                  <a:pt x="3476" y="1757"/>
                </a:cubicBezTo>
                <a:cubicBezTo>
                  <a:pt x="3476" y="1731"/>
                  <a:pt x="3477" y="1706"/>
                  <a:pt x="3477" y="1682"/>
                </a:cubicBezTo>
                <a:cubicBezTo>
                  <a:pt x="3479" y="1449"/>
                  <a:pt x="3480" y="1296"/>
                  <a:pt x="3427" y="1098"/>
                </a:cubicBezTo>
                <a:cubicBezTo>
                  <a:pt x="3425" y="1093"/>
                  <a:pt x="3422" y="1084"/>
                  <a:pt x="3418" y="1071"/>
                </a:cubicBezTo>
                <a:cubicBezTo>
                  <a:pt x="3394" y="991"/>
                  <a:pt x="3331" y="778"/>
                  <a:pt x="3141" y="552"/>
                </a:cubicBezTo>
                <a:cubicBezTo>
                  <a:pt x="3141" y="552"/>
                  <a:pt x="3141" y="552"/>
                  <a:pt x="3141" y="552"/>
                </a:cubicBezTo>
                <a:cubicBezTo>
                  <a:pt x="3140" y="551"/>
                  <a:pt x="3140" y="551"/>
                  <a:pt x="3140" y="551"/>
                </a:cubicBezTo>
                <a:cubicBezTo>
                  <a:pt x="2861" y="219"/>
                  <a:pt x="2456" y="40"/>
                  <a:pt x="2041" y="40"/>
                </a:cubicBezTo>
                <a:cubicBezTo>
                  <a:pt x="1825" y="40"/>
                  <a:pt x="1606" y="89"/>
                  <a:pt x="1401" y="189"/>
                </a:cubicBezTo>
                <a:cubicBezTo>
                  <a:pt x="910" y="433"/>
                  <a:pt x="605" y="926"/>
                  <a:pt x="605" y="1474"/>
                </a:cubicBezTo>
                <a:cubicBezTo>
                  <a:pt x="605" y="1585"/>
                  <a:pt x="605" y="1585"/>
                  <a:pt x="605" y="1585"/>
                </a:cubicBezTo>
                <a:cubicBezTo>
                  <a:pt x="605" y="1666"/>
                  <a:pt x="605" y="1750"/>
                  <a:pt x="605" y="1757"/>
                </a:cubicBezTo>
                <a:cubicBezTo>
                  <a:pt x="605" y="1759"/>
                  <a:pt x="605" y="1759"/>
                  <a:pt x="605" y="1759"/>
                </a:cubicBezTo>
                <a:cubicBezTo>
                  <a:pt x="604" y="1760"/>
                  <a:pt x="604" y="1760"/>
                  <a:pt x="604" y="1760"/>
                </a:cubicBezTo>
                <a:cubicBezTo>
                  <a:pt x="536" y="1856"/>
                  <a:pt x="520" y="1973"/>
                  <a:pt x="562" y="2081"/>
                </a:cubicBezTo>
                <a:cubicBezTo>
                  <a:pt x="609" y="2205"/>
                  <a:pt x="724" y="2297"/>
                  <a:pt x="867" y="2328"/>
                </a:cubicBezTo>
                <a:cubicBezTo>
                  <a:pt x="871" y="2329"/>
                  <a:pt x="871" y="2329"/>
                  <a:pt x="871" y="2329"/>
                </a:cubicBezTo>
                <a:cubicBezTo>
                  <a:pt x="871" y="2333"/>
                  <a:pt x="871" y="2333"/>
                  <a:pt x="871" y="2333"/>
                </a:cubicBezTo>
                <a:cubicBezTo>
                  <a:pt x="881" y="2787"/>
                  <a:pt x="1121" y="3178"/>
                  <a:pt x="1514" y="3378"/>
                </a:cubicBezTo>
                <a:cubicBezTo>
                  <a:pt x="1517" y="3380"/>
                  <a:pt x="1517" y="3380"/>
                  <a:pt x="1517" y="3380"/>
                </a:cubicBezTo>
                <a:cubicBezTo>
                  <a:pt x="1517" y="3595"/>
                  <a:pt x="1517" y="3595"/>
                  <a:pt x="1517" y="3595"/>
                </a:cubicBezTo>
                <a:cubicBezTo>
                  <a:pt x="1514" y="3596"/>
                  <a:pt x="1514" y="3596"/>
                  <a:pt x="1514" y="3596"/>
                </a:cubicBezTo>
                <a:cubicBezTo>
                  <a:pt x="1246" y="3724"/>
                  <a:pt x="1246" y="3724"/>
                  <a:pt x="1246" y="3724"/>
                </a:cubicBezTo>
                <a:cubicBezTo>
                  <a:pt x="1166" y="3747"/>
                  <a:pt x="1093" y="3764"/>
                  <a:pt x="1022" y="3781"/>
                </a:cubicBezTo>
                <a:cubicBezTo>
                  <a:pt x="832" y="3826"/>
                  <a:pt x="682" y="3862"/>
                  <a:pt x="557" y="3955"/>
                </a:cubicBezTo>
                <a:cubicBezTo>
                  <a:pt x="356" y="4109"/>
                  <a:pt x="277" y="4249"/>
                  <a:pt x="245" y="4510"/>
                </a:cubicBezTo>
                <a:cubicBezTo>
                  <a:pt x="137" y="5484"/>
                  <a:pt x="76" y="6021"/>
                  <a:pt x="43" y="6309"/>
                </a:cubicBezTo>
                <a:close/>
                <a:moveTo>
                  <a:pt x="4683" y="7036"/>
                </a:moveTo>
                <a:cubicBezTo>
                  <a:pt x="4678" y="7037"/>
                  <a:pt x="4678" y="7037"/>
                  <a:pt x="4678" y="7037"/>
                </a:cubicBezTo>
                <a:cubicBezTo>
                  <a:pt x="4393" y="7037"/>
                  <a:pt x="4393" y="7037"/>
                  <a:pt x="4393" y="7037"/>
                </a:cubicBezTo>
                <a:cubicBezTo>
                  <a:pt x="4393" y="7032"/>
                  <a:pt x="4393" y="7032"/>
                  <a:pt x="4393" y="7032"/>
                </a:cubicBezTo>
                <a:cubicBezTo>
                  <a:pt x="4380" y="6805"/>
                  <a:pt x="4380" y="6805"/>
                  <a:pt x="4380" y="6805"/>
                </a:cubicBezTo>
                <a:cubicBezTo>
                  <a:pt x="4379" y="6778"/>
                  <a:pt x="4367" y="6753"/>
                  <a:pt x="4347" y="6735"/>
                </a:cubicBezTo>
                <a:cubicBezTo>
                  <a:pt x="4326" y="6717"/>
                  <a:pt x="4301" y="6708"/>
                  <a:pt x="4274" y="6710"/>
                </a:cubicBezTo>
                <a:cubicBezTo>
                  <a:pt x="4247" y="6711"/>
                  <a:pt x="4222" y="6723"/>
                  <a:pt x="4204" y="6743"/>
                </a:cubicBezTo>
                <a:cubicBezTo>
                  <a:pt x="4186" y="6763"/>
                  <a:pt x="4177" y="6789"/>
                  <a:pt x="4179" y="6816"/>
                </a:cubicBezTo>
                <a:cubicBezTo>
                  <a:pt x="4191" y="7037"/>
                  <a:pt x="4191" y="7037"/>
                  <a:pt x="4191" y="7037"/>
                </a:cubicBezTo>
                <a:cubicBezTo>
                  <a:pt x="3016" y="7037"/>
                  <a:pt x="3016" y="7037"/>
                  <a:pt x="3016" y="7037"/>
                </a:cubicBezTo>
                <a:cubicBezTo>
                  <a:pt x="3016" y="7032"/>
                  <a:pt x="3016" y="7032"/>
                  <a:pt x="3016" y="7032"/>
                </a:cubicBezTo>
                <a:cubicBezTo>
                  <a:pt x="3028" y="6816"/>
                  <a:pt x="3028" y="6816"/>
                  <a:pt x="3028" y="6816"/>
                </a:cubicBezTo>
                <a:cubicBezTo>
                  <a:pt x="3030" y="6789"/>
                  <a:pt x="3021" y="6763"/>
                  <a:pt x="3003" y="6743"/>
                </a:cubicBezTo>
                <a:cubicBezTo>
                  <a:pt x="2985" y="6723"/>
                  <a:pt x="2960" y="6711"/>
                  <a:pt x="2933" y="6710"/>
                </a:cubicBezTo>
                <a:cubicBezTo>
                  <a:pt x="2878" y="6706"/>
                  <a:pt x="2830" y="6749"/>
                  <a:pt x="2827" y="6805"/>
                </a:cubicBezTo>
                <a:cubicBezTo>
                  <a:pt x="2814" y="7037"/>
                  <a:pt x="2814" y="7037"/>
                  <a:pt x="2814" y="7037"/>
                </a:cubicBezTo>
                <a:cubicBezTo>
                  <a:pt x="2810" y="7037"/>
                  <a:pt x="2810" y="7037"/>
                  <a:pt x="2810" y="7037"/>
                </a:cubicBezTo>
                <a:cubicBezTo>
                  <a:pt x="2521" y="7037"/>
                  <a:pt x="2521" y="7037"/>
                  <a:pt x="2521" y="7037"/>
                </a:cubicBezTo>
                <a:cubicBezTo>
                  <a:pt x="2521" y="7032"/>
                  <a:pt x="2521" y="7032"/>
                  <a:pt x="2521" y="7032"/>
                </a:cubicBezTo>
                <a:cubicBezTo>
                  <a:pt x="2535" y="6914"/>
                  <a:pt x="2544" y="6817"/>
                  <a:pt x="2553" y="6731"/>
                </a:cubicBezTo>
                <a:cubicBezTo>
                  <a:pt x="2587" y="6392"/>
                  <a:pt x="2596" y="6301"/>
                  <a:pt x="2739" y="6216"/>
                </a:cubicBezTo>
                <a:cubicBezTo>
                  <a:pt x="2800" y="6179"/>
                  <a:pt x="2846" y="6168"/>
                  <a:pt x="2947" y="6144"/>
                </a:cubicBezTo>
                <a:cubicBezTo>
                  <a:pt x="2992" y="6133"/>
                  <a:pt x="3048" y="6120"/>
                  <a:pt x="3122" y="6101"/>
                </a:cubicBezTo>
                <a:cubicBezTo>
                  <a:pt x="3125" y="6100"/>
                  <a:pt x="3125" y="6100"/>
                  <a:pt x="3125" y="6100"/>
                </a:cubicBezTo>
                <a:cubicBezTo>
                  <a:pt x="3127" y="6102"/>
                  <a:pt x="3127" y="6102"/>
                  <a:pt x="3127" y="6102"/>
                </a:cubicBezTo>
                <a:cubicBezTo>
                  <a:pt x="3247" y="6238"/>
                  <a:pt x="3420" y="6317"/>
                  <a:pt x="3602" y="6317"/>
                </a:cubicBezTo>
                <a:cubicBezTo>
                  <a:pt x="3784" y="6317"/>
                  <a:pt x="3957" y="6238"/>
                  <a:pt x="4078" y="6102"/>
                </a:cubicBezTo>
                <a:cubicBezTo>
                  <a:pt x="4080" y="6100"/>
                  <a:pt x="4080" y="6100"/>
                  <a:pt x="4080" y="6100"/>
                </a:cubicBezTo>
                <a:cubicBezTo>
                  <a:pt x="4087" y="6102"/>
                  <a:pt x="4087" y="6102"/>
                  <a:pt x="4087" y="6102"/>
                </a:cubicBezTo>
                <a:cubicBezTo>
                  <a:pt x="4157" y="6121"/>
                  <a:pt x="4213" y="6134"/>
                  <a:pt x="4258" y="6145"/>
                </a:cubicBezTo>
                <a:cubicBezTo>
                  <a:pt x="4352" y="6166"/>
                  <a:pt x="4403" y="6179"/>
                  <a:pt x="4465" y="6216"/>
                </a:cubicBezTo>
                <a:cubicBezTo>
                  <a:pt x="4608" y="6301"/>
                  <a:pt x="4617" y="6400"/>
                  <a:pt x="4642" y="6663"/>
                </a:cubicBezTo>
                <a:cubicBezTo>
                  <a:pt x="4651" y="6760"/>
                  <a:pt x="4662" y="6881"/>
                  <a:pt x="4683" y="7032"/>
                </a:cubicBezTo>
                <a:lnTo>
                  <a:pt x="4683" y="7036"/>
                </a:lnTo>
                <a:close/>
                <a:moveTo>
                  <a:pt x="2997" y="4684"/>
                </a:moveTo>
                <a:cubicBezTo>
                  <a:pt x="2997" y="4678"/>
                  <a:pt x="2997" y="4678"/>
                  <a:pt x="2997" y="4678"/>
                </a:cubicBezTo>
                <a:cubicBezTo>
                  <a:pt x="3003" y="4679"/>
                  <a:pt x="3003" y="4679"/>
                  <a:pt x="3003" y="4679"/>
                </a:cubicBezTo>
                <a:cubicBezTo>
                  <a:pt x="3458" y="4773"/>
                  <a:pt x="3785" y="4591"/>
                  <a:pt x="3926" y="4406"/>
                </a:cubicBezTo>
                <a:cubicBezTo>
                  <a:pt x="3930" y="4400"/>
                  <a:pt x="3930" y="4400"/>
                  <a:pt x="3930" y="4400"/>
                </a:cubicBezTo>
                <a:cubicBezTo>
                  <a:pt x="3934" y="4406"/>
                  <a:pt x="3934" y="4406"/>
                  <a:pt x="3934" y="4406"/>
                </a:cubicBezTo>
                <a:cubicBezTo>
                  <a:pt x="4026" y="4541"/>
                  <a:pt x="4130" y="4601"/>
                  <a:pt x="4201" y="4627"/>
                </a:cubicBezTo>
                <a:cubicBezTo>
                  <a:pt x="4204" y="4628"/>
                  <a:pt x="4204" y="4628"/>
                  <a:pt x="4204" y="4628"/>
                </a:cubicBezTo>
                <a:cubicBezTo>
                  <a:pt x="4204" y="4631"/>
                  <a:pt x="4204" y="4631"/>
                  <a:pt x="4204" y="4631"/>
                </a:cubicBezTo>
                <a:cubicBezTo>
                  <a:pt x="4204" y="4785"/>
                  <a:pt x="4204" y="4879"/>
                  <a:pt x="4204" y="4939"/>
                </a:cubicBezTo>
                <a:cubicBezTo>
                  <a:pt x="4204" y="5039"/>
                  <a:pt x="4204" y="5039"/>
                  <a:pt x="4203" y="5051"/>
                </a:cubicBezTo>
                <a:cubicBezTo>
                  <a:pt x="4202" y="5067"/>
                  <a:pt x="4202" y="5067"/>
                  <a:pt x="4202" y="5067"/>
                </a:cubicBezTo>
                <a:cubicBezTo>
                  <a:pt x="4202" y="5071"/>
                  <a:pt x="4202" y="5076"/>
                  <a:pt x="4201" y="5080"/>
                </a:cubicBezTo>
                <a:cubicBezTo>
                  <a:pt x="4181" y="5292"/>
                  <a:pt x="4049" y="5479"/>
                  <a:pt x="3857" y="5570"/>
                </a:cubicBezTo>
                <a:cubicBezTo>
                  <a:pt x="3855" y="5570"/>
                  <a:pt x="3855" y="5570"/>
                  <a:pt x="3855" y="5570"/>
                </a:cubicBezTo>
                <a:cubicBezTo>
                  <a:pt x="3855" y="5570"/>
                  <a:pt x="3854" y="5571"/>
                  <a:pt x="3852" y="5572"/>
                </a:cubicBezTo>
                <a:cubicBezTo>
                  <a:pt x="3810" y="5591"/>
                  <a:pt x="3714" y="5627"/>
                  <a:pt x="3593" y="5627"/>
                </a:cubicBezTo>
                <a:cubicBezTo>
                  <a:pt x="3482" y="5627"/>
                  <a:pt x="3350" y="5596"/>
                  <a:pt x="3222" y="5493"/>
                </a:cubicBezTo>
                <a:cubicBezTo>
                  <a:pt x="3221" y="5492"/>
                  <a:pt x="3221" y="5492"/>
                  <a:pt x="3221" y="5492"/>
                </a:cubicBezTo>
                <a:cubicBezTo>
                  <a:pt x="3220" y="5492"/>
                  <a:pt x="3219" y="5490"/>
                  <a:pt x="3217" y="5489"/>
                </a:cubicBezTo>
                <a:cubicBezTo>
                  <a:pt x="3148" y="5432"/>
                  <a:pt x="3029" y="5307"/>
                  <a:pt x="3002" y="5102"/>
                </a:cubicBezTo>
                <a:cubicBezTo>
                  <a:pt x="2996" y="5058"/>
                  <a:pt x="2997" y="5019"/>
                  <a:pt x="2997" y="4925"/>
                </a:cubicBezTo>
                <a:cubicBezTo>
                  <a:pt x="2997" y="4869"/>
                  <a:pt x="2998" y="4793"/>
                  <a:pt x="2997" y="4684"/>
                </a:cubicBezTo>
                <a:close/>
                <a:moveTo>
                  <a:pt x="3422" y="5849"/>
                </a:moveTo>
                <a:cubicBezTo>
                  <a:pt x="3422" y="5834"/>
                  <a:pt x="3421" y="5822"/>
                  <a:pt x="3422" y="5814"/>
                </a:cubicBezTo>
                <a:cubicBezTo>
                  <a:pt x="3423" y="5808"/>
                  <a:pt x="3423" y="5808"/>
                  <a:pt x="3423" y="5808"/>
                </a:cubicBezTo>
                <a:cubicBezTo>
                  <a:pt x="3428" y="5810"/>
                  <a:pt x="3428" y="5810"/>
                  <a:pt x="3428" y="5810"/>
                </a:cubicBezTo>
                <a:cubicBezTo>
                  <a:pt x="3472" y="5819"/>
                  <a:pt x="3517" y="5825"/>
                  <a:pt x="3562" y="5827"/>
                </a:cubicBezTo>
                <a:cubicBezTo>
                  <a:pt x="3563" y="5827"/>
                  <a:pt x="3565" y="5827"/>
                  <a:pt x="3566" y="5827"/>
                </a:cubicBezTo>
                <a:cubicBezTo>
                  <a:pt x="3567" y="5827"/>
                  <a:pt x="3568" y="5828"/>
                  <a:pt x="3569" y="5828"/>
                </a:cubicBezTo>
                <a:cubicBezTo>
                  <a:pt x="3577" y="5828"/>
                  <a:pt x="3577" y="5828"/>
                  <a:pt x="3577" y="5828"/>
                </a:cubicBezTo>
                <a:cubicBezTo>
                  <a:pt x="3647" y="5830"/>
                  <a:pt x="3721" y="5823"/>
                  <a:pt x="3776" y="5809"/>
                </a:cubicBezTo>
                <a:cubicBezTo>
                  <a:pt x="3781" y="5808"/>
                  <a:pt x="3781" y="5808"/>
                  <a:pt x="3781" y="5808"/>
                </a:cubicBezTo>
                <a:cubicBezTo>
                  <a:pt x="3782" y="5813"/>
                  <a:pt x="3782" y="5813"/>
                  <a:pt x="3782" y="5813"/>
                </a:cubicBezTo>
                <a:cubicBezTo>
                  <a:pt x="3783" y="5822"/>
                  <a:pt x="3783" y="5834"/>
                  <a:pt x="3782" y="5849"/>
                </a:cubicBezTo>
                <a:cubicBezTo>
                  <a:pt x="3780" y="5902"/>
                  <a:pt x="3778" y="5983"/>
                  <a:pt x="3845" y="6032"/>
                </a:cubicBezTo>
                <a:cubicBezTo>
                  <a:pt x="3850" y="6036"/>
                  <a:pt x="3850" y="6036"/>
                  <a:pt x="3850" y="6036"/>
                </a:cubicBezTo>
                <a:cubicBezTo>
                  <a:pt x="3845" y="6040"/>
                  <a:pt x="3845" y="6040"/>
                  <a:pt x="3845" y="6040"/>
                </a:cubicBezTo>
                <a:cubicBezTo>
                  <a:pt x="3771" y="6090"/>
                  <a:pt x="3687" y="6115"/>
                  <a:pt x="3602" y="6115"/>
                </a:cubicBezTo>
                <a:cubicBezTo>
                  <a:pt x="3518" y="6115"/>
                  <a:pt x="3433" y="6090"/>
                  <a:pt x="3359" y="6040"/>
                </a:cubicBezTo>
                <a:cubicBezTo>
                  <a:pt x="3354" y="6036"/>
                  <a:pt x="3354" y="6036"/>
                  <a:pt x="3354" y="6036"/>
                </a:cubicBezTo>
                <a:cubicBezTo>
                  <a:pt x="3359" y="6032"/>
                  <a:pt x="3359" y="6032"/>
                  <a:pt x="3359" y="6032"/>
                </a:cubicBezTo>
                <a:cubicBezTo>
                  <a:pt x="3426" y="5984"/>
                  <a:pt x="3424" y="5902"/>
                  <a:pt x="3422" y="5849"/>
                </a:cubicBezTo>
                <a:close/>
                <a:moveTo>
                  <a:pt x="6998" y="6673"/>
                </a:moveTo>
                <a:cubicBezTo>
                  <a:pt x="7009" y="6800"/>
                  <a:pt x="6983" y="6894"/>
                  <a:pt x="6917" y="6961"/>
                </a:cubicBezTo>
                <a:cubicBezTo>
                  <a:pt x="6852" y="7026"/>
                  <a:pt x="6775" y="7038"/>
                  <a:pt x="6674" y="7038"/>
                </a:cubicBezTo>
                <a:cubicBezTo>
                  <a:pt x="6650" y="7038"/>
                  <a:pt x="6623" y="7037"/>
                  <a:pt x="6596" y="7036"/>
                </a:cubicBezTo>
                <a:cubicBezTo>
                  <a:pt x="6538" y="7035"/>
                  <a:pt x="6473" y="7033"/>
                  <a:pt x="6400" y="7037"/>
                </a:cubicBezTo>
                <a:cubicBezTo>
                  <a:pt x="6395" y="7037"/>
                  <a:pt x="6395" y="7037"/>
                  <a:pt x="6395" y="7037"/>
                </a:cubicBezTo>
                <a:cubicBezTo>
                  <a:pt x="6323" y="5663"/>
                  <a:pt x="6323" y="5663"/>
                  <a:pt x="6323" y="5663"/>
                </a:cubicBezTo>
                <a:cubicBezTo>
                  <a:pt x="6879" y="5605"/>
                  <a:pt x="6879" y="5605"/>
                  <a:pt x="6879" y="5605"/>
                </a:cubicBezTo>
                <a:lnTo>
                  <a:pt x="6998" y="6673"/>
                </a:lnTo>
                <a:close/>
                <a:moveTo>
                  <a:pt x="6217" y="4003"/>
                </a:moveTo>
                <a:cubicBezTo>
                  <a:pt x="6217" y="3997"/>
                  <a:pt x="6217" y="3997"/>
                  <a:pt x="6217" y="3997"/>
                </a:cubicBezTo>
                <a:cubicBezTo>
                  <a:pt x="6223" y="3998"/>
                  <a:pt x="6223" y="3998"/>
                  <a:pt x="6223" y="3998"/>
                </a:cubicBezTo>
                <a:cubicBezTo>
                  <a:pt x="6231" y="4001"/>
                  <a:pt x="6241" y="4004"/>
                  <a:pt x="6255" y="4007"/>
                </a:cubicBezTo>
                <a:cubicBezTo>
                  <a:pt x="6370" y="4036"/>
                  <a:pt x="6677" y="4115"/>
                  <a:pt x="6743" y="4436"/>
                </a:cubicBezTo>
                <a:cubicBezTo>
                  <a:pt x="6749" y="4463"/>
                  <a:pt x="6755" y="4501"/>
                  <a:pt x="6759" y="4533"/>
                </a:cubicBezTo>
                <a:cubicBezTo>
                  <a:pt x="6856" y="5404"/>
                  <a:pt x="6856" y="5404"/>
                  <a:pt x="6856" y="5404"/>
                </a:cubicBezTo>
                <a:cubicBezTo>
                  <a:pt x="6312" y="5461"/>
                  <a:pt x="6312" y="5461"/>
                  <a:pt x="6312" y="5461"/>
                </a:cubicBezTo>
                <a:cubicBezTo>
                  <a:pt x="6312" y="5456"/>
                  <a:pt x="6312" y="5456"/>
                  <a:pt x="6312" y="5456"/>
                </a:cubicBezTo>
                <a:cubicBezTo>
                  <a:pt x="6290" y="5040"/>
                  <a:pt x="6290" y="5040"/>
                  <a:pt x="6290" y="5040"/>
                </a:cubicBezTo>
                <a:cubicBezTo>
                  <a:pt x="6288" y="5013"/>
                  <a:pt x="6276" y="4989"/>
                  <a:pt x="6256" y="4970"/>
                </a:cubicBezTo>
                <a:cubicBezTo>
                  <a:pt x="6236" y="4952"/>
                  <a:pt x="6210" y="4943"/>
                  <a:pt x="6184" y="4945"/>
                </a:cubicBezTo>
                <a:cubicBezTo>
                  <a:pt x="6128" y="4948"/>
                  <a:pt x="6085" y="4996"/>
                  <a:pt x="6088" y="5051"/>
                </a:cubicBezTo>
                <a:cubicBezTo>
                  <a:pt x="6193" y="7037"/>
                  <a:pt x="6193" y="7037"/>
                  <a:pt x="6193" y="7037"/>
                </a:cubicBezTo>
                <a:cubicBezTo>
                  <a:pt x="4888" y="7037"/>
                  <a:pt x="4888" y="7037"/>
                  <a:pt x="4888" y="7037"/>
                </a:cubicBezTo>
                <a:cubicBezTo>
                  <a:pt x="4888" y="7033"/>
                  <a:pt x="4888" y="7033"/>
                  <a:pt x="4888" y="7033"/>
                </a:cubicBezTo>
                <a:cubicBezTo>
                  <a:pt x="4865" y="6864"/>
                  <a:pt x="4852" y="6734"/>
                  <a:pt x="4841" y="6629"/>
                </a:cubicBezTo>
                <a:cubicBezTo>
                  <a:pt x="4826" y="6473"/>
                  <a:pt x="4816" y="6379"/>
                  <a:pt x="4788" y="6302"/>
                </a:cubicBezTo>
                <a:cubicBezTo>
                  <a:pt x="4729" y="6142"/>
                  <a:pt x="4586" y="6019"/>
                  <a:pt x="4406" y="5973"/>
                </a:cubicBezTo>
                <a:cubicBezTo>
                  <a:pt x="3984" y="5868"/>
                  <a:pt x="3984" y="5868"/>
                  <a:pt x="3984" y="5868"/>
                </a:cubicBezTo>
                <a:cubicBezTo>
                  <a:pt x="3984" y="5731"/>
                  <a:pt x="3984" y="5731"/>
                  <a:pt x="3984" y="5731"/>
                </a:cubicBezTo>
                <a:cubicBezTo>
                  <a:pt x="3986" y="5730"/>
                  <a:pt x="3986" y="5730"/>
                  <a:pt x="3986" y="5730"/>
                </a:cubicBezTo>
                <a:cubicBezTo>
                  <a:pt x="4202" y="5612"/>
                  <a:pt x="4354" y="5398"/>
                  <a:pt x="4394" y="5158"/>
                </a:cubicBezTo>
                <a:cubicBezTo>
                  <a:pt x="4395" y="5156"/>
                  <a:pt x="4395" y="5156"/>
                  <a:pt x="4395" y="5156"/>
                </a:cubicBezTo>
                <a:cubicBezTo>
                  <a:pt x="4397" y="5155"/>
                  <a:pt x="4397" y="5155"/>
                  <a:pt x="4397" y="5155"/>
                </a:cubicBezTo>
                <a:cubicBezTo>
                  <a:pt x="4397" y="5154"/>
                  <a:pt x="4398" y="5154"/>
                  <a:pt x="4399" y="5154"/>
                </a:cubicBezTo>
                <a:cubicBezTo>
                  <a:pt x="4440" y="5145"/>
                  <a:pt x="4644" y="5089"/>
                  <a:pt x="4681" y="4882"/>
                </a:cubicBezTo>
                <a:cubicBezTo>
                  <a:pt x="4693" y="4816"/>
                  <a:pt x="4683" y="4750"/>
                  <a:pt x="4652" y="4690"/>
                </a:cubicBezTo>
                <a:cubicBezTo>
                  <a:pt x="4649" y="4684"/>
                  <a:pt x="4649" y="4684"/>
                  <a:pt x="4649" y="4684"/>
                </a:cubicBezTo>
                <a:cubicBezTo>
                  <a:pt x="4656" y="4683"/>
                  <a:pt x="4656" y="4683"/>
                  <a:pt x="4656" y="4683"/>
                </a:cubicBezTo>
                <a:cubicBezTo>
                  <a:pt x="4858" y="4642"/>
                  <a:pt x="5057" y="4490"/>
                  <a:pt x="5157" y="4403"/>
                </a:cubicBezTo>
                <a:cubicBezTo>
                  <a:pt x="5161" y="4400"/>
                  <a:pt x="5161" y="4400"/>
                  <a:pt x="5161" y="4400"/>
                </a:cubicBezTo>
                <a:cubicBezTo>
                  <a:pt x="5164" y="4403"/>
                  <a:pt x="5164" y="4403"/>
                  <a:pt x="5164" y="4403"/>
                </a:cubicBezTo>
                <a:cubicBezTo>
                  <a:pt x="5455" y="4655"/>
                  <a:pt x="5721" y="4748"/>
                  <a:pt x="5914" y="4666"/>
                </a:cubicBezTo>
                <a:cubicBezTo>
                  <a:pt x="6095" y="4589"/>
                  <a:pt x="6200" y="4359"/>
                  <a:pt x="6217" y="4003"/>
                </a:cubicBezTo>
                <a:close/>
                <a:moveTo>
                  <a:pt x="4527" y="4134"/>
                </a:moveTo>
                <a:cubicBezTo>
                  <a:pt x="4521" y="4117"/>
                  <a:pt x="4521" y="4117"/>
                  <a:pt x="4521" y="4117"/>
                </a:cubicBezTo>
                <a:cubicBezTo>
                  <a:pt x="4534" y="4129"/>
                  <a:pt x="4534" y="4129"/>
                  <a:pt x="4534" y="4129"/>
                </a:cubicBezTo>
                <a:cubicBezTo>
                  <a:pt x="4646" y="4224"/>
                  <a:pt x="4773" y="4292"/>
                  <a:pt x="4912" y="4329"/>
                </a:cubicBezTo>
                <a:cubicBezTo>
                  <a:pt x="4922" y="4331"/>
                  <a:pt x="4922" y="4331"/>
                  <a:pt x="4922" y="4331"/>
                </a:cubicBezTo>
                <a:cubicBezTo>
                  <a:pt x="4914" y="4337"/>
                  <a:pt x="4914" y="4337"/>
                  <a:pt x="4914" y="4337"/>
                </a:cubicBezTo>
                <a:cubicBezTo>
                  <a:pt x="4826" y="4401"/>
                  <a:pt x="4697" y="4479"/>
                  <a:pt x="4586" y="4491"/>
                </a:cubicBezTo>
                <a:cubicBezTo>
                  <a:pt x="4581" y="4492"/>
                  <a:pt x="4581" y="4492"/>
                  <a:pt x="4581" y="4492"/>
                </a:cubicBezTo>
                <a:cubicBezTo>
                  <a:pt x="4581" y="4487"/>
                  <a:pt x="4581" y="4487"/>
                  <a:pt x="4581" y="4487"/>
                </a:cubicBezTo>
                <a:cubicBezTo>
                  <a:pt x="4580" y="4484"/>
                  <a:pt x="4580" y="4479"/>
                  <a:pt x="4581" y="4470"/>
                </a:cubicBezTo>
                <a:cubicBezTo>
                  <a:pt x="4581" y="4427"/>
                  <a:pt x="4582" y="4295"/>
                  <a:pt x="4527" y="4134"/>
                </a:cubicBezTo>
                <a:close/>
                <a:moveTo>
                  <a:pt x="4276" y="3746"/>
                </a:moveTo>
                <a:cubicBezTo>
                  <a:pt x="4274" y="3745"/>
                  <a:pt x="4274" y="3745"/>
                  <a:pt x="4274" y="3745"/>
                </a:cubicBezTo>
                <a:cubicBezTo>
                  <a:pt x="4222" y="3695"/>
                  <a:pt x="4180" y="3662"/>
                  <a:pt x="4120" y="3625"/>
                </a:cubicBezTo>
                <a:cubicBezTo>
                  <a:pt x="4106" y="3616"/>
                  <a:pt x="4106" y="3616"/>
                  <a:pt x="4106" y="3616"/>
                </a:cubicBezTo>
                <a:cubicBezTo>
                  <a:pt x="4634" y="3616"/>
                  <a:pt x="4634" y="3616"/>
                  <a:pt x="4634" y="3616"/>
                </a:cubicBezTo>
                <a:cubicBezTo>
                  <a:pt x="4634" y="3657"/>
                  <a:pt x="4634" y="3657"/>
                  <a:pt x="4634" y="3657"/>
                </a:cubicBezTo>
                <a:lnTo>
                  <a:pt x="4276" y="3746"/>
                </a:lnTo>
                <a:close/>
                <a:moveTo>
                  <a:pt x="4485" y="4828"/>
                </a:moveTo>
                <a:cubicBezTo>
                  <a:pt x="4485" y="4882"/>
                  <a:pt x="4447" y="4910"/>
                  <a:pt x="4419" y="4930"/>
                </a:cubicBezTo>
                <a:cubicBezTo>
                  <a:pt x="4406" y="4941"/>
                  <a:pt x="4406" y="4941"/>
                  <a:pt x="4406" y="4941"/>
                </a:cubicBezTo>
                <a:cubicBezTo>
                  <a:pt x="4406" y="4718"/>
                  <a:pt x="4406" y="4718"/>
                  <a:pt x="4406" y="4718"/>
                </a:cubicBezTo>
                <a:cubicBezTo>
                  <a:pt x="4413" y="4722"/>
                  <a:pt x="4413" y="4722"/>
                  <a:pt x="4413" y="4722"/>
                </a:cubicBezTo>
                <a:cubicBezTo>
                  <a:pt x="4458" y="4748"/>
                  <a:pt x="4485" y="4787"/>
                  <a:pt x="4485" y="4828"/>
                </a:cubicBezTo>
                <a:close/>
                <a:moveTo>
                  <a:pt x="5957" y="3935"/>
                </a:moveTo>
                <a:cubicBezTo>
                  <a:pt x="5959" y="3933"/>
                  <a:pt x="5959" y="3933"/>
                  <a:pt x="5959" y="3933"/>
                </a:cubicBezTo>
                <a:cubicBezTo>
                  <a:pt x="6017" y="3947"/>
                  <a:pt x="6017" y="3947"/>
                  <a:pt x="6017" y="3947"/>
                </a:cubicBezTo>
                <a:cubicBezTo>
                  <a:pt x="6017" y="3951"/>
                  <a:pt x="6017" y="3951"/>
                  <a:pt x="6017" y="3951"/>
                </a:cubicBezTo>
                <a:cubicBezTo>
                  <a:pt x="6008" y="4247"/>
                  <a:pt x="5944" y="4434"/>
                  <a:pt x="5835" y="4479"/>
                </a:cubicBezTo>
                <a:cubicBezTo>
                  <a:pt x="5813" y="4489"/>
                  <a:pt x="5789" y="4493"/>
                  <a:pt x="5764" y="4493"/>
                </a:cubicBezTo>
                <a:cubicBezTo>
                  <a:pt x="5643" y="4493"/>
                  <a:pt x="5493" y="4400"/>
                  <a:pt x="5406" y="4337"/>
                </a:cubicBezTo>
                <a:cubicBezTo>
                  <a:pt x="5398" y="4331"/>
                  <a:pt x="5398" y="4331"/>
                  <a:pt x="5398" y="4331"/>
                </a:cubicBezTo>
                <a:cubicBezTo>
                  <a:pt x="5408" y="4328"/>
                  <a:pt x="5408" y="4328"/>
                  <a:pt x="5408" y="4328"/>
                </a:cubicBezTo>
                <a:cubicBezTo>
                  <a:pt x="5631" y="4266"/>
                  <a:pt x="5821" y="4131"/>
                  <a:pt x="5957" y="3935"/>
                </a:cubicBezTo>
                <a:close/>
                <a:moveTo>
                  <a:pt x="5746" y="3880"/>
                </a:moveTo>
                <a:cubicBezTo>
                  <a:pt x="5741" y="3886"/>
                  <a:pt x="5741" y="3886"/>
                  <a:pt x="5741" y="3886"/>
                </a:cubicBezTo>
                <a:cubicBezTo>
                  <a:pt x="5592" y="4060"/>
                  <a:pt x="5381" y="4159"/>
                  <a:pt x="5161" y="4159"/>
                </a:cubicBezTo>
                <a:cubicBezTo>
                  <a:pt x="4941" y="4159"/>
                  <a:pt x="4729" y="4060"/>
                  <a:pt x="4580" y="3886"/>
                </a:cubicBezTo>
                <a:cubicBezTo>
                  <a:pt x="4575" y="3880"/>
                  <a:pt x="4575" y="3880"/>
                  <a:pt x="4575" y="3880"/>
                </a:cubicBezTo>
                <a:cubicBezTo>
                  <a:pt x="4720" y="3844"/>
                  <a:pt x="4720" y="3844"/>
                  <a:pt x="4720" y="3844"/>
                </a:cubicBezTo>
                <a:cubicBezTo>
                  <a:pt x="4726" y="3842"/>
                  <a:pt x="4732" y="3840"/>
                  <a:pt x="4737" y="3838"/>
                </a:cubicBezTo>
                <a:cubicBezTo>
                  <a:pt x="4797" y="3811"/>
                  <a:pt x="4836" y="3741"/>
                  <a:pt x="4836" y="3661"/>
                </a:cubicBezTo>
                <a:cubicBezTo>
                  <a:pt x="4836" y="3457"/>
                  <a:pt x="4836" y="3457"/>
                  <a:pt x="4836" y="3457"/>
                </a:cubicBezTo>
                <a:cubicBezTo>
                  <a:pt x="4842" y="3459"/>
                  <a:pt x="4842" y="3459"/>
                  <a:pt x="4842" y="3459"/>
                </a:cubicBezTo>
                <a:cubicBezTo>
                  <a:pt x="5050" y="3518"/>
                  <a:pt x="5253" y="3518"/>
                  <a:pt x="5480" y="3460"/>
                </a:cubicBezTo>
                <a:cubicBezTo>
                  <a:pt x="5486" y="3458"/>
                  <a:pt x="5486" y="3458"/>
                  <a:pt x="5486" y="3458"/>
                </a:cubicBezTo>
                <a:cubicBezTo>
                  <a:pt x="5486" y="3661"/>
                  <a:pt x="5486" y="3661"/>
                  <a:pt x="5486" y="3661"/>
                </a:cubicBezTo>
                <a:cubicBezTo>
                  <a:pt x="5486" y="3741"/>
                  <a:pt x="5524" y="3811"/>
                  <a:pt x="5584" y="3838"/>
                </a:cubicBezTo>
                <a:cubicBezTo>
                  <a:pt x="5590" y="3840"/>
                  <a:pt x="5595" y="3842"/>
                  <a:pt x="5602" y="3844"/>
                </a:cubicBezTo>
                <a:lnTo>
                  <a:pt x="5746" y="3880"/>
                </a:lnTo>
                <a:close/>
                <a:moveTo>
                  <a:pt x="5161" y="3300"/>
                </a:moveTo>
                <a:cubicBezTo>
                  <a:pt x="4978" y="3300"/>
                  <a:pt x="4796" y="3250"/>
                  <a:pt x="4638" y="3147"/>
                </a:cubicBezTo>
                <a:cubicBezTo>
                  <a:pt x="4617" y="3133"/>
                  <a:pt x="4480" y="3018"/>
                  <a:pt x="4457" y="2996"/>
                </a:cubicBezTo>
                <a:cubicBezTo>
                  <a:pt x="4176" y="2684"/>
                  <a:pt x="4182" y="2389"/>
                  <a:pt x="4191" y="1982"/>
                </a:cubicBezTo>
                <a:cubicBezTo>
                  <a:pt x="4193" y="1901"/>
                  <a:pt x="4195" y="1817"/>
                  <a:pt x="4195" y="1726"/>
                </a:cubicBezTo>
                <a:cubicBezTo>
                  <a:pt x="4195" y="1723"/>
                  <a:pt x="4195" y="1723"/>
                  <a:pt x="4195" y="1723"/>
                </a:cubicBezTo>
                <a:cubicBezTo>
                  <a:pt x="4199" y="1722"/>
                  <a:pt x="4199" y="1722"/>
                  <a:pt x="4199" y="1722"/>
                </a:cubicBezTo>
                <a:cubicBezTo>
                  <a:pt x="4333" y="1693"/>
                  <a:pt x="4531" y="1618"/>
                  <a:pt x="4712" y="1429"/>
                </a:cubicBezTo>
                <a:cubicBezTo>
                  <a:pt x="4716" y="1425"/>
                  <a:pt x="4716" y="1425"/>
                  <a:pt x="4716" y="1425"/>
                </a:cubicBezTo>
                <a:cubicBezTo>
                  <a:pt x="4719" y="1429"/>
                  <a:pt x="4719" y="1429"/>
                  <a:pt x="4719" y="1429"/>
                </a:cubicBezTo>
                <a:cubicBezTo>
                  <a:pt x="4873" y="1615"/>
                  <a:pt x="5318" y="2051"/>
                  <a:pt x="6126" y="2086"/>
                </a:cubicBezTo>
                <a:cubicBezTo>
                  <a:pt x="6131" y="2086"/>
                  <a:pt x="6131" y="2086"/>
                  <a:pt x="6131" y="2086"/>
                </a:cubicBezTo>
                <a:cubicBezTo>
                  <a:pt x="6131" y="2090"/>
                  <a:pt x="6131" y="2090"/>
                  <a:pt x="6131" y="2090"/>
                </a:cubicBezTo>
                <a:cubicBezTo>
                  <a:pt x="6130" y="2213"/>
                  <a:pt x="6131" y="2273"/>
                  <a:pt x="6131" y="2305"/>
                </a:cubicBezTo>
                <a:cubicBezTo>
                  <a:pt x="6131" y="2346"/>
                  <a:pt x="6131" y="2346"/>
                  <a:pt x="6130" y="2374"/>
                </a:cubicBezTo>
                <a:cubicBezTo>
                  <a:pt x="6130" y="2378"/>
                  <a:pt x="6130" y="2378"/>
                  <a:pt x="6130" y="2378"/>
                </a:cubicBezTo>
                <a:cubicBezTo>
                  <a:pt x="6128" y="2383"/>
                  <a:pt x="6128" y="2392"/>
                  <a:pt x="6127" y="2406"/>
                </a:cubicBezTo>
                <a:cubicBezTo>
                  <a:pt x="6119" y="2504"/>
                  <a:pt x="6095" y="2805"/>
                  <a:pt x="5783" y="3077"/>
                </a:cubicBezTo>
                <a:cubicBezTo>
                  <a:pt x="5782" y="3078"/>
                  <a:pt x="5778" y="3081"/>
                  <a:pt x="5775" y="3084"/>
                </a:cubicBezTo>
                <a:cubicBezTo>
                  <a:pt x="5770" y="3087"/>
                  <a:pt x="5770" y="3087"/>
                  <a:pt x="5770" y="3087"/>
                </a:cubicBezTo>
                <a:cubicBezTo>
                  <a:pt x="5596" y="3229"/>
                  <a:pt x="5378" y="3300"/>
                  <a:pt x="5161" y="3300"/>
                </a:cubicBezTo>
                <a:close/>
                <a:moveTo>
                  <a:pt x="3861" y="1323"/>
                </a:moveTo>
                <a:cubicBezTo>
                  <a:pt x="3923" y="942"/>
                  <a:pt x="4089" y="712"/>
                  <a:pt x="4341" y="656"/>
                </a:cubicBezTo>
                <a:cubicBezTo>
                  <a:pt x="4341" y="656"/>
                  <a:pt x="4341" y="656"/>
                  <a:pt x="4341" y="656"/>
                </a:cubicBezTo>
                <a:cubicBezTo>
                  <a:pt x="4370" y="650"/>
                  <a:pt x="4395" y="631"/>
                  <a:pt x="4409" y="604"/>
                </a:cubicBezTo>
                <a:cubicBezTo>
                  <a:pt x="4420" y="584"/>
                  <a:pt x="4685" y="111"/>
                  <a:pt x="5518" y="274"/>
                </a:cubicBezTo>
                <a:cubicBezTo>
                  <a:pt x="5848" y="337"/>
                  <a:pt x="6357" y="737"/>
                  <a:pt x="6451" y="1326"/>
                </a:cubicBezTo>
                <a:cubicBezTo>
                  <a:pt x="6471" y="1423"/>
                  <a:pt x="6469" y="1601"/>
                  <a:pt x="6468" y="1732"/>
                </a:cubicBezTo>
                <a:cubicBezTo>
                  <a:pt x="6468" y="1758"/>
                  <a:pt x="6468" y="1783"/>
                  <a:pt x="6468" y="1803"/>
                </a:cubicBezTo>
                <a:cubicBezTo>
                  <a:pt x="6468" y="1903"/>
                  <a:pt x="6468" y="1903"/>
                  <a:pt x="6468" y="1903"/>
                </a:cubicBezTo>
                <a:cubicBezTo>
                  <a:pt x="6415" y="2793"/>
                  <a:pt x="6415" y="2793"/>
                  <a:pt x="6415" y="2793"/>
                </a:cubicBezTo>
                <a:cubicBezTo>
                  <a:pt x="6384" y="3322"/>
                  <a:pt x="6383" y="3343"/>
                  <a:pt x="6383" y="3345"/>
                </a:cubicBezTo>
                <a:cubicBezTo>
                  <a:pt x="6383" y="3383"/>
                  <a:pt x="6351" y="3414"/>
                  <a:pt x="6314" y="3414"/>
                </a:cubicBezTo>
                <a:cubicBezTo>
                  <a:pt x="5687" y="3414"/>
                  <a:pt x="5687" y="3414"/>
                  <a:pt x="5687" y="3414"/>
                </a:cubicBezTo>
                <a:cubicBezTo>
                  <a:pt x="5687" y="3380"/>
                  <a:pt x="5687" y="3380"/>
                  <a:pt x="5687" y="3380"/>
                </a:cubicBezTo>
                <a:cubicBezTo>
                  <a:pt x="5689" y="3378"/>
                  <a:pt x="5689" y="3378"/>
                  <a:pt x="5689" y="3378"/>
                </a:cubicBezTo>
                <a:cubicBezTo>
                  <a:pt x="5694" y="3375"/>
                  <a:pt x="5701" y="3371"/>
                  <a:pt x="5712" y="3365"/>
                </a:cubicBezTo>
                <a:cubicBezTo>
                  <a:pt x="5783" y="3326"/>
                  <a:pt x="5998" y="3208"/>
                  <a:pt x="6158" y="2949"/>
                </a:cubicBezTo>
                <a:cubicBezTo>
                  <a:pt x="6338" y="2658"/>
                  <a:pt x="6335" y="2409"/>
                  <a:pt x="6333" y="2167"/>
                </a:cubicBezTo>
                <a:cubicBezTo>
                  <a:pt x="6333" y="2138"/>
                  <a:pt x="6332" y="2108"/>
                  <a:pt x="6332" y="2079"/>
                </a:cubicBezTo>
                <a:cubicBezTo>
                  <a:pt x="6332" y="1974"/>
                  <a:pt x="6251" y="1889"/>
                  <a:pt x="6146" y="1884"/>
                </a:cubicBezTo>
                <a:cubicBezTo>
                  <a:pt x="5361" y="1855"/>
                  <a:pt x="4958" y="1409"/>
                  <a:pt x="4853" y="1273"/>
                </a:cubicBezTo>
                <a:cubicBezTo>
                  <a:pt x="4821" y="1233"/>
                  <a:pt x="4774" y="1209"/>
                  <a:pt x="4723" y="1207"/>
                </a:cubicBezTo>
                <a:cubicBezTo>
                  <a:pt x="4671" y="1205"/>
                  <a:pt x="4623" y="1226"/>
                  <a:pt x="4589" y="1264"/>
                </a:cubicBezTo>
                <a:cubicBezTo>
                  <a:pt x="4424" y="1451"/>
                  <a:pt x="4237" y="1509"/>
                  <a:pt x="4140" y="1528"/>
                </a:cubicBezTo>
                <a:cubicBezTo>
                  <a:pt x="4055" y="1544"/>
                  <a:pt x="3993" y="1619"/>
                  <a:pt x="3993" y="1705"/>
                </a:cubicBezTo>
                <a:cubicBezTo>
                  <a:pt x="3994" y="1971"/>
                  <a:pt x="3993" y="2125"/>
                  <a:pt x="3993" y="2217"/>
                </a:cubicBezTo>
                <a:cubicBezTo>
                  <a:pt x="3993" y="2351"/>
                  <a:pt x="3993" y="2351"/>
                  <a:pt x="3994" y="2378"/>
                </a:cubicBezTo>
                <a:cubicBezTo>
                  <a:pt x="3994" y="2380"/>
                  <a:pt x="3994" y="2380"/>
                  <a:pt x="3994" y="2380"/>
                </a:cubicBezTo>
                <a:cubicBezTo>
                  <a:pt x="3997" y="2780"/>
                  <a:pt x="4265" y="3199"/>
                  <a:pt x="4632" y="3376"/>
                </a:cubicBezTo>
                <a:cubicBezTo>
                  <a:pt x="4634" y="3377"/>
                  <a:pt x="4634" y="3377"/>
                  <a:pt x="4634" y="3377"/>
                </a:cubicBezTo>
                <a:cubicBezTo>
                  <a:pt x="4634" y="3414"/>
                  <a:pt x="4634" y="3414"/>
                  <a:pt x="4634" y="3414"/>
                </a:cubicBezTo>
                <a:cubicBezTo>
                  <a:pt x="3999" y="3414"/>
                  <a:pt x="3999" y="3414"/>
                  <a:pt x="3999" y="3414"/>
                </a:cubicBezTo>
                <a:cubicBezTo>
                  <a:pt x="3961" y="3414"/>
                  <a:pt x="3930" y="3383"/>
                  <a:pt x="3930" y="3346"/>
                </a:cubicBezTo>
                <a:cubicBezTo>
                  <a:pt x="3930" y="3344"/>
                  <a:pt x="3929" y="3334"/>
                  <a:pt x="3920" y="3179"/>
                </a:cubicBezTo>
                <a:cubicBezTo>
                  <a:pt x="3910" y="3005"/>
                  <a:pt x="3889" y="2645"/>
                  <a:pt x="3845" y="1901"/>
                </a:cubicBezTo>
                <a:cubicBezTo>
                  <a:pt x="3844" y="1895"/>
                  <a:pt x="3844" y="1895"/>
                  <a:pt x="3844" y="1895"/>
                </a:cubicBezTo>
                <a:cubicBezTo>
                  <a:pt x="3844" y="1892"/>
                  <a:pt x="3814" y="1614"/>
                  <a:pt x="3861" y="1323"/>
                </a:cubicBezTo>
                <a:close/>
                <a:moveTo>
                  <a:pt x="2822" y="4493"/>
                </a:moveTo>
                <a:cubicBezTo>
                  <a:pt x="2822" y="4447"/>
                  <a:pt x="2822" y="4429"/>
                  <a:pt x="2823" y="4422"/>
                </a:cubicBezTo>
                <a:cubicBezTo>
                  <a:pt x="2822" y="4422"/>
                  <a:pt x="2822" y="4422"/>
                  <a:pt x="2822" y="4422"/>
                </a:cubicBezTo>
                <a:cubicBezTo>
                  <a:pt x="2835" y="4121"/>
                  <a:pt x="3017" y="3860"/>
                  <a:pt x="3297" y="3741"/>
                </a:cubicBezTo>
                <a:cubicBezTo>
                  <a:pt x="3576" y="3622"/>
                  <a:pt x="3890" y="3673"/>
                  <a:pt x="4116" y="3873"/>
                </a:cubicBezTo>
                <a:cubicBezTo>
                  <a:pt x="4117" y="3873"/>
                  <a:pt x="4118" y="3874"/>
                  <a:pt x="4118" y="3874"/>
                </a:cubicBezTo>
                <a:cubicBezTo>
                  <a:pt x="4247" y="3989"/>
                  <a:pt x="4330" y="4135"/>
                  <a:pt x="4365" y="4309"/>
                </a:cubicBezTo>
                <a:cubicBezTo>
                  <a:pt x="4380" y="4386"/>
                  <a:pt x="4379" y="4451"/>
                  <a:pt x="4379" y="4479"/>
                </a:cubicBezTo>
                <a:cubicBezTo>
                  <a:pt x="4379" y="4486"/>
                  <a:pt x="4379" y="4490"/>
                  <a:pt x="4379" y="4493"/>
                </a:cubicBezTo>
                <a:cubicBezTo>
                  <a:pt x="4380" y="4507"/>
                  <a:pt x="4380" y="4507"/>
                  <a:pt x="4380" y="4507"/>
                </a:cubicBezTo>
                <a:cubicBezTo>
                  <a:pt x="4371" y="4496"/>
                  <a:pt x="4371" y="4496"/>
                  <a:pt x="4371" y="4496"/>
                </a:cubicBezTo>
                <a:cubicBezTo>
                  <a:pt x="4340" y="4458"/>
                  <a:pt x="4305" y="4448"/>
                  <a:pt x="4286" y="4442"/>
                </a:cubicBezTo>
                <a:cubicBezTo>
                  <a:pt x="4283" y="4442"/>
                  <a:pt x="4281" y="4441"/>
                  <a:pt x="4279" y="4440"/>
                </a:cubicBezTo>
                <a:cubicBezTo>
                  <a:pt x="4232" y="4425"/>
                  <a:pt x="4141" y="4378"/>
                  <a:pt x="4064" y="4231"/>
                </a:cubicBezTo>
                <a:cubicBezTo>
                  <a:pt x="4038" y="4180"/>
                  <a:pt x="3989" y="4150"/>
                  <a:pt x="3932" y="4150"/>
                </a:cubicBezTo>
                <a:cubicBezTo>
                  <a:pt x="3931" y="4150"/>
                  <a:pt x="3930" y="4150"/>
                  <a:pt x="3929" y="4150"/>
                </a:cubicBezTo>
                <a:cubicBezTo>
                  <a:pt x="3872" y="4151"/>
                  <a:pt x="3821" y="4184"/>
                  <a:pt x="3796" y="4236"/>
                </a:cubicBezTo>
                <a:cubicBezTo>
                  <a:pt x="3734" y="4367"/>
                  <a:pt x="3450" y="4595"/>
                  <a:pt x="2969" y="4464"/>
                </a:cubicBezTo>
                <a:cubicBezTo>
                  <a:pt x="2924" y="4451"/>
                  <a:pt x="2875" y="4463"/>
                  <a:pt x="2840" y="4495"/>
                </a:cubicBezTo>
                <a:cubicBezTo>
                  <a:pt x="2839" y="4496"/>
                  <a:pt x="2839" y="4496"/>
                  <a:pt x="2839" y="4496"/>
                </a:cubicBezTo>
                <a:cubicBezTo>
                  <a:pt x="2837" y="4496"/>
                  <a:pt x="2837" y="4496"/>
                  <a:pt x="2837" y="4496"/>
                </a:cubicBezTo>
                <a:cubicBezTo>
                  <a:pt x="2835" y="4497"/>
                  <a:pt x="2832" y="4497"/>
                  <a:pt x="2829" y="4498"/>
                </a:cubicBezTo>
                <a:cubicBezTo>
                  <a:pt x="2822" y="4499"/>
                  <a:pt x="2822" y="4499"/>
                  <a:pt x="2822" y="4499"/>
                </a:cubicBezTo>
                <a:lnTo>
                  <a:pt x="2822" y="4493"/>
                </a:lnTo>
                <a:close/>
                <a:moveTo>
                  <a:pt x="2788" y="4722"/>
                </a:moveTo>
                <a:cubicBezTo>
                  <a:pt x="2795" y="4718"/>
                  <a:pt x="2795" y="4718"/>
                  <a:pt x="2795" y="4718"/>
                </a:cubicBezTo>
                <a:cubicBezTo>
                  <a:pt x="2795" y="4939"/>
                  <a:pt x="2795" y="4939"/>
                  <a:pt x="2795" y="4939"/>
                </a:cubicBezTo>
                <a:cubicBezTo>
                  <a:pt x="2788" y="4935"/>
                  <a:pt x="2788" y="4935"/>
                  <a:pt x="2788" y="4935"/>
                </a:cubicBezTo>
                <a:cubicBezTo>
                  <a:pt x="2743" y="4909"/>
                  <a:pt x="2716" y="4870"/>
                  <a:pt x="2716" y="4829"/>
                </a:cubicBezTo>
                <a:cubicBezTo>
                  <a:pt x="2717" y="4787"/>
                  <a:pt x="2743" y="4747"/>
                  <a:pt x="2788" y="4722"/>
                </a:cubicBezTo>
                <a:close/>
                <a:moveTo>
                  <a:pt x="2639" y="3854"/>
                </a:moveTo>
                <a:cubicBezTo>
                  <a:pt x="2635" y="3859"/>
                  <a:pt x="2635" y="3859"/>
                  <a:pt x="2635" y="3859"/>
                </a:cubicBezTo>
                <a:cubicBezTo>
                  <a:pt x="2346" y="4229"/>
                  <a:pt x="2346" y="4229"/>
                  <a:pt x="2346" y="4229"/>
                </a:cubicBezTo>
                <a:cubicBezTo>
                  <a:pt x="2185" y="4067"/>
                  <a:pt x="2185" y="4067"/>
                  <a:pt x="2185" y="4067"/>
                </a:cubicBezTo>
                <a:cubicBezTo>
                  <a:pt x="2488" y="3782"/>
                  <a:pt x="2488" y="3782"/>
                  <a:pt x="2488" y="3782"/>
                </a:cubicBezTo>
                <a:lnTo>
                  <a:pt x="2639" y="3854"/>
                </a:lnTo>
                <a:close/>
                <a:moveTo>
                  <a:pt x="2041" y="3926"/>
                </a:moveTo>
                <a:cubicBezTo>
                  <a:pt x="2037" y="3923"/>
                  <a:pt x="2037" y="3923"/>
                  <a:pt x="2037" y="3923"/>
                </a:cubicBezTo>
                <a:cubicBezTo>
                  <a:pt x="1718" y="3622"/>
                  <a:pt x="1718" y="3622"/>
                  <a:pt x="1718" y="3622"/>
                </a:cubicBezTo>
                <a:cubicBezTo>
                  <a:pt x="1718" y="3458"/>
                  <a:pt x="1718" y="3458"/>
                  <a:pt x="1718" y="3458"/>
                </a:cubicBezTo>
                <a:cubicBezTo>
                  <a:pt x="1725" y="3460"/>
                  <a:pt x="1725" y="3460"/>
                  <a:pt x="1725" y="3460"/>
                </a:cubicBezTo>
                <a:cubicBezTo>
                  <a:pt x="1931" y="3518"/>
                  <a:pt x="2151" y="3518"/>
                  <a:pt x="2360" y="3459"/>
                </a:cubicBezTo>
                <a:cubicBezTo>
                  <a:pt x="2366" y="3458"/>
                  <a:pt x="2366" y="3458"/>
                  <a:pt x="2366" y="3458"/>
                </a:cubicBezTo>
                <a:cubicBezTo>
                  <a:pt x="2366" y="3620"/>
                  <a:pt x="2366" y="3620"/>
                  <a:pt x="2366" y="3620"/>
                </a:cubicBezTo>
                <a:cubicBezTo>
                  <a:pt x="2364" y="3621"/>
                  <a:pt x="2364" y="3621"/>
                  <a:pt x="2364" y="3621"/>
                </a:cubicBezTo>
                <a:lnTo>
                  <a:pt x="2041" y="3926"/>
                </a:lnTo>
                <a:close/>
                <a:moveTo>
                  <a:pt x="3341" y="1960"/>
                </a:moveTo>
                <a:cubicBezTo>
                  <a:pt x="3341" y="2026"/>
                  <a:pt x="3295" y="2085"/>
                  <a:pt x="3217" y="2117"/>
                </a:cubicBezTo>
                <a:cubicBezTo>
                  <a:pt x="3210" y="2120"/>
                  <a:pt x="3210" y="2120"/>
                  <a:pt x="3210" y="2120"/>
                </a:cubicBezTo>
                <a:cubicBezTo>
                  <a:pt x="3210" y="1801"/>
                  <a:pt x="3210" y="1801"/>
                  <a:pt x="3210" y="1801"/>
                </a:cubicBezTo>
                <a:cubicBezTo>
                  <a:pt x="3217" y="1804"/>
                  <a:pt x="3217" y="1804"/>
                  <a:pt x="3217" y="1804"/>
                </a:cubicBezTo>
                <a:cubicBezTo>
                  <a:pt x="3294" y="1836"/>
                  <a:pt x="3341" y="1894"/>
                  <a:pt x="3341" y="1960"/>
                </a:cubicBezTo>
                <a:close/>
                <a:moveTo>
                  <a:pt x="871" y="2120"/>
                </a:moveTo>
                <a:cubicBezTo>
                  <a:pt x="865" y="2117"/>
                  <a:pt x="865" y="2117"/>
                  <a:pt x="865" y="2117"/>
                </a:cubicBezTo>
                <a:cubicBezTo>
                  <a:pt x="787" y="2085"/>
                  <a:pt x="741" y="2026"/>
                  <a:pt x="741" y="1960"/>
                </a:cubicBezTo>
                <a:cubicBezTo>
                  <a:pt x="741" y="1894"/>
                  <a:pt x="787" y="1836"/>
                  <a:pt x="865" y="1804"/>
                </a:cubicBezTo>
                <a:cubicBezTo>
                  <a:pt x="871" y="1801"/>
                  <a:pt x="871" y="1801"/>
                  <a:pt x="871" y="1801"/>
                </a:cubicBezTo>
                <a:lnTo>
                  <a:pt x="871" y="2120"/>
                </a:lnTo>
                <a:close/>
                <a:moveTo>
                  <a:pt x="969" y="1574"/>
                </a:moveTo>
                <a:cubicBezTo>
                  <a:pt x="966" y="1577"/>
                  <a:pt x="962" y="1579"/>
                  <a:pt x="961" y="1580"/>
                </a:cubicBezTo>
                <a:cubicBezTo>
                  <a:pt x="960" y="1581"/>
                  <a:pt x="960" y="1581"/>
                  <a:pt x="960" y="1581"/>
                </a:cubicBezTo>
                <a:cubicBezTo>
                  <a:pt x="958" y="1581"/>
                  <a:pt x="958" y="1581"/>
                  <a:pt x="958" y="1581"/>
                </a:cubicBezTo>
                <a:cubicBezTo>
                  <a:pt x="909" y="1583"/>
                  <a:pt x="860" y="1591"/>
                  <a:pt x="813" y="1607"/>
                </a:cubicBezTo>
                <a:cubicBezTo>
                  <a:pt x="807" y="1610"/>
                  <a:pt x="807" y="1610"/>
                  <a:pt x="807" y="1610"/>
                </a:cubicBezTo>
                <a:cubicBezTo>
                  <a:pt x="807" y="1603"/>
                  <a:pt x="807" y="1603"/>
                  <a:pt x="807" y="1603"/>
                </a:cubicBezTo>
                <a:cubicBezTo>
                  <a:pt x="807" y="1580"/>
                  <a:pt x="807" y="1558"/>
                  <a:pt x="807" y="1535"/>
                </a:cubicBezTo>
                <a:cubicBezTo>
                  <a:pt x="806" y="1450"/>
                  <a:pt x="806" y="1361"/>
                  <a:pt x="829" y="1241"/>
                </a:cubicBezTo>
                <a:cubicBezTo>
                  <a:pt x="830" y="1237"/>
                  <a:pt x="832" y="1228"/>
                  <a:pt x="835" y="1216"/>
                </a:cubicBezTo>
                <a:cubicBezTo>
                  <a:pt x="896" y="949"/>
                  <a:pt x="1026" y="725"/>
                  <a:pt x="1221" y="551"/>
                </a:cubicBezTo>
                <a:cubicBezTo>
                  <a:pt x="1229" y="545"/>
                  <a:pt x="1238" y="538"/>
                  <a:pt x="1248" y="529"/>
                </a:cubicBezTo>
                <a:cubicBezTo>
                  <a:pt x="1294" y="490"/>
                  <a:pt x="1372" y="424"/>
                  <a:pt x="1529" y="351"/>
                </a:cubicBezTo>
                <a:cubicBezTo>
                  <a:pt x="1972" y="148"/>
                  <a:pt x="2470" y="223"/>
                  <a:pt x="2860" y="551"/>
                </a:cubicBezTo>
                <a:cubicBezTo>
                  <a:pt x="3112" y="775"/>
                  <a:pt x="3192" y="1026"/>
                  <a:pt x="3222" y="1120"/>
                </a:cubicBezTo>
                <a:cubicBezTo>
                  <a:pt x="3226" y="1133"/>
                  <a:pt x="3229" y="1143"/>
                  <a:pt x="3232" y="1150"/>
                </a:cubicBezTo>
                <a:cubicBezTo>
                  <a:pt x="3277" y="1318"/>
                  <a:pt x="3276" y="1449"/>
                  <a:pt x="3274" y="1536"/>
                </a:cubicBezTo>
                <a:cubicBezTo>
                  <a:pt x="3274" y="1562"/>
                  <a:pt x="3274" y="1584"/>
                  <a:pt x="3275" y="1603"/>
                </a:cubicBezTo>
                <a:cubicBezTo>
                  <a:pt x="3275" y="1610"/>
                  <a:pt x="3275" y="1610"/>
                  <a:pt x="3275" y="1610"/>
                </a:cubicBezTo>
                <a:cubicBezTo>
                  <a:pt x="3268" y="1607"/>
                  <a:pt x="3268" y="1607"/>
                  <a:pt x="3268" y="1607"/>
                </a:cubicBezTo>
                <a:cubicBezTo>
                  <a:pt x="3222" y="1591"/>
                  <a:pt x="3173" y="1583"/>
                  <a:pt x="3124" y="1581"/>
                </a:cubicBezTo>
                <a:cubicBezTo>
                  <a:pt x="3121" y="1581"/>
                  <a:pt x="3121" y="1581"/>
                  <a:pt x="3121" y="1581"/>
                </a:cubicBezTo>
                <a:cubicBezTo>
                  <a:pt x="3096" y="1566"/>
                  <a:pt x="3070" y="1545"/>
                  <a:pt x="3049" y="1522"/>
                </a:cubicBezTo>
                <a:cubicBezTo>
                  <a:pt x="2978" y="1440"/>
                  <a:pt x="2971" y="1368"/>
                  <a:pt x="2964" y="1299"/>
                </a:cubicBezTo>
                <a:cubicBezTo>
                  <a:pt x="2957" y="1230"/>
                  <a:pt x="2951" y="1164"/>
                  <a:pt x="2873" y="1099"/>
                </a:cubicBezTo>
                <a:cubicBezTo>
                  <a:pt x="2783" y="1024"/>
                  <a:pt x="2696" y="1036"/>
                  <a:pt x="2553" y="1058"/>
                </a:cubicBezTo>
                <a:cubicBezTo>
                  <a:pt x="2527" y="1061"/>
                  <a:pt x="2500" y="1065"/>
                  <a:pt x="2471" y="1069"/>
                </a:cubicBezTo>
                <a:cubicBezTo>
                  <a:pt x="2001" y="1120"/>
                  <a:pt x="1728" y="1084"/>
                  <a:pt x="1547" y="1059"/>
                </a:cubicBezTo>
                <a:cubicBezTo>
                  <a:pt x="1380" y="1037"/>
                  <a:pt x="1296" y="1026"/>
                  <a:pt x="1208" y="1099"/>
                </a:cubicBezTo>
                <a:cubicBezTo>
                  <a:pt x="1151" y="1147"/>
                  <a:pt x="1120" y="1213"/>
                  <a:pt x="1118" y="1291"/>
                </a:cubicBezTo>
                <a:cubicBezTo>
                  <a:pt x="1110" y="1489"/>
                  <a:pt x="1004" y="1553"/>
                  <a:pt x="969" y="1574"/>
                </a:cubicBezTo>
                <a:close/>
                <a:moveTo>
                  <a:pt x="1073" y="2334"/>
                </a:moveTo>
                <a:cubicBezTo>
                  <a:pt x="1073" y="1748"/>
                  <a:pt x="1073" y="1748"/>
                  <a:pt x="1073" y="1748"/>
                </a:cubicBezTo>
                <a:cubicBezTo>
                  <a:pt x="1075" y="1747"/>
                  <a:pt x="1075" y="1747"/>
                  <a:pt x="1075" y="1747"/>
                </a:cubicBezTo>
                <a:cubicBezTo>
                  <a:pt x="1156" y="1688"/>
                  <a:pt x="1214" y="1642"/>
                  <a:pt x="1265" y="1533"/>
                </a:cubicBezTo>
                <a:cubicBezTo>
                  <a:pt x="1298" y="1462"/>
                  <a:pt x="1317" y="1380"/>
                  <a:pt x="1319" y="1291"/>
                </a:cubicBezTo>
                <a:cubicBezTo>
                  <a:pt x="1320" y="1276"/>
                  <a:pt x="1327" y="1263"/>
                  <a:pt x="1338" y="1254"/>
                </a:cubicBezTo>
                <a:cubicBezTo>
                  <a:pt x="1349" y="1244"/>
                  <a:pt x="1365" y="1240"/>
                  <a:pt x="1380" y="1242"/>
                </a:cubicBezTo>
                <a:cubicBezTo>
                  <a:pt x="2048" y="1331"/>
                  <a:pt x="2415" y="1280"/>
                  <a:pt x="2591" y="1255"/>
                </a:cubicBezTo>
                <a:cubicBezTo>
                  <a:pt x="2682" y="1243"/>
                  <a:pt x="2727" y="1236"/>
                  <a:pt x="2748" y="1255"/>
                </a:cubicBezTo>
                <a:cubicBezTo>
                  <a:pt x="2757" y="1262"/>
                  <a:pt x="2762" y="1274"/>
                  <a:pt x="2762" y="1291"/>
                </a:cubicBezTo>
                <a:cubicBezTo>
                  <a:pt x="2768" y="1495"/>
                  <a:pt x="2867" y="1621"/>
                  <a:pt x="2898" y="1655"/>
                </a:cubicBezTo>
                <a:cubicBezTo>
                  <a:pt x="2899" y="1657"/>
                  <a:pt x="2900" y="1658"/>
                  <a:pt x="2900" y="1658"/>
                </a:cubicBezTo>
                <a:cubicBezTo>
                  <a:pt x="2933" y="1694"/>
                  <a:pt x="2956" y="1711"/>
                  <a:pt x="2991" y="1735"/>
                </a:cubicBezTo>
                <a:cubicBezTo>
                  <a:pt x="3009" y="1748"/>
                  <a:pt x="3009" y="1748"/>
                  <a:pt x="3009" y="1748"/>
                </a:cubicBezTo>
                <a:cubicBezTo>
                  <a:pt x="3009" y="1898"/>
                  <a:pt x="3009" y="1898"/>
                  <a:pt x="3009" y="1898"/>
                </a:cubicBezTo>
                <a:cubicBezTo>
                  <a:pt x="3009" y="2046"/>
                  <a:pt x="3008" y="2231"/>
                  <a:pt x="3009" y="2239"/>
                </a:cubicBezTo>
                <a:cubicBezTo>
                  <a:pt x="3008" y="2243"/>
                  <a:pt x="3008" y="2253"/>
                  <a:pt x="3008" y="2265"/>
                </a:cubicBezTo>
                <a:cubicBezTo>
                  <a:pt x="3020" y="2794"/>
                  <a:pt x="2730" y="3062"/>
                  <a:pt x="2485" y="3194"/>
                </a:cubicBezTo>
                <a:cubicBezTo>
                  <a:pt x="2481" y="3191"/>
                  <a:pt x="2481" y="3191"/>
                  <a:pt x="2481" y="3191"/>
                </a:cubicBezTo>
                <a:cubicBezTo>
                  <a:pt x="2481" y="3191"/>
                  <a:pt x="2481" y="3191"/>
                  <a:pt x="2481" y="3191"/>
                </a:cubicBezTo>
                <a:cubicBezTo>
                  <a:pt x="2483" y="3195"/>
                  <a:pt x="2483" y="3195"/>
                  <a:pt x="2483" y="3195"/>
                </a:cubicBezTo>
                <a:cubicBezTo>
                  <a:pt x="2456" y="3210"/>
                  <a:pt x="2308" y="3285"/>
                  <a:pt x="2105" y="3299"/>
                </a:cubicBezTo>
                <a:cubicBezTo>
                  <a:pt x="2104" y="3299"/>
                  <a:pt x="2060" y="3302"/>
                  <a:pt x="2027" y="3302"/>
                </a:cubicBezTo>
                <a:cubicBezTo>
                  <a:pt x="2013" y="3302"/>
                  <a:pt x="2001" y="3301"/>
                  <a:pt x="1995" y="3300"/>
                </a:cubicBezTo>
                <a:cubicBezTo>
                  <a:pt x="1995" y="3301"/>
                  <a:pt x="1995" y="3301"/>
                  <a:pt x="1995" y="3301"/>
                </a:cubicBezTo>
                <a:cubicBezTo>
                  <a:pt x="1995" y="3300"/>
                  <a:pt x="1995" y="3300"/>
                  <a:pt x="1995" y="3300"/>
                </a:cubicBezTo>
                <a:cubicBezTo>
                  <a:pt x="1995" y="3300"/>
                  <a:pt x="1995" y="3300"/>
                  <a:pt x="1995" y="3300"/>
                </a:cubicBezTo>
                <a:cubicBezTo>
                  <a:pt x="1995" y="3301"/>
                  <a:pt x="1995" y="3301"/>
                  <a:pt x="1995" y="3301"/>
                </a:cubicBezTo>
                <a:cubicBezTo>
                  <a:pt x="1478" y="3277"/>
                  <a:pt x="1073" y="2852"/>
                  <a:pt x="1073" y="2334"/>
                </a:cubicBezTo>
                <a:close/>
                <a:moveTo>
                  <a:pt x="1595" y="3783"/>
                </a:moveTo>
                <a:cubicBezTo>
                  <a:pt x="1598" y="3786"/>
                  <a:pt x="1598" y="3786"/>
                  <a:pt x="1598" y="3786"/>
                </a:cubicBezTo>
                <a:cubicBezTo>
                  <a:pt x="1896" y="4067"/>
                  <a:pt x="1896" y="4067"/>
                  <a:pt x="1896" y="4067"/>
                </a:cubicBezTo>
                <a:cubicBezTo>
                  <a:pt x="1735" y="4229"/>
                  <a:pt x="1735" y="4229"/>
                  <a:pt x="1735" y="4229"/>
                </a:cubicBezTo>
                <a:cubicBezTo>
                  <a:pt x="1732" y="4225"/>
                  <a:pt x="1732" y="4225"/>
                  <a:pt x="1732" y="4225"/>
                </a:cubicBezTo>
                <a:cubicBezTo>
                  <a:pt x="1444" y="3856"/>
                  <a:pt x="1444" y="3856"/>
                  <a:pt x="1444" y="3856"/>
                </a:cubicBezTo>
                <a:lnTo>
                  <a:pt x="1595" y="3783"/>
                </a:lnTo>
                <a:close/>
                <a:moveTo>
                  <a:pt x="350" y="5384"/>
                </a:moveTo>
                <a:cubicBezTo>
                  <a:pt x="382" y="5134"/>
                  <a:pt x="400" y="4948"/>
                  <a:pt x="415" y="4800"/>
                </a:cubicBezTo>
                <a:cubicBezTo>
                  <a:pt x="451" y="4447"/>
                  <a:pt x="462" y="4341"/>
                  <a:pt x="566" y="4217"/>
                </a:cubicBezTo>
                <a:cubicBezTo>
                  <a:pt x="567" y="4216"/>
                  <a:pt x="567" y="4216"/>
                  <a:pt x="567" y="4216"/>
                </a:cubicBezTo>
                <a:cubicBezTo>
                  <a:pt x="700" y="4059"/>
                  <a:pt x="888" y="4017"/>
                  <a:pt x="1070" y="3976"/>
                </a:cubicBezTo>
                <a:cubicBezTo>
                  <a:pt x="1131" y="3963"/>
                  <a:pt x="1189" y="3950"/>
                  <a:pt x="1244" y="3933"/>
                </a:cubicBezTo>
                <a:cubicBezTo>
                  <a:pt x="1247" y="3932"/>
                  <a:pt x="1247" y="3932"/>
                  <a:pt x="1247" y="3932"/>
                </a:cubicBezTo>
                <a:cubicBezTo>
                  <a:pt x="1250" y="3934"/>
                  <a:pt x="1250" y="3934"/>
                  <a:pt x="1250" y="3934"/>
                </a:cubicBezTo>
                <a:cubicBezTo>
                  <a:pt x="1574" y="4350"/>
                  <a:pt x="1574" y="4350"/>
                  <a:pt x="1574" y="4350"/>
                </a:cubicBezTo>
                <a:cubicBezTo>
                  <a:pt x="1610" y="4397"/>
                  <a:pt x="1665" y="4425"/>
                  <a:pt x="1724" y="4429"/>
                </a:cubicBezTo>
                <a:cubicBezTo>
                  <a:pt x="1782" y="4432"/>
                  <a:pt x="1840" y="4410"/>
                  <a:pt x="1881" y="4368"/>
                </a:cubicBezTo>
                <a:cubicBezTo>
                  <a:pt x="1940" y="4309"/>
                  <a:pt x="1940" y="4309"/>
                  <a:pt x="1940" y="4309"/>
                </a:cubicBezTo>
                <a:cubicBezTo>
                  <a:pt x="1940" y="4832"/>
                  <a:pt x="1940" y="4832"/>
                  <a:pt x="1940" y="4832"/>
                </a:cubicBezTo>
                <a:cubicBezTo>
                  <a:pt x="1940" y="4887"/>
                  <a:pt x="1985" y="4933"/>
                  <a:pt x="2041" y="4933"/>
                </a:cubicBezTo>
                <a:cubicBezTo>
                  <a:pt x="2096" y="4933"/>
                  <a:pt x="2142" y="4887"/>
                  <a:pt x="2142" y="4832"/>
                </a:cubicBezTo>
                <a:cubicBezTo>
                  <a:pt x="2142" y="4309"/>
                  <a:pt x="2142" y="4309"/>
                  <a:pt x="2142" y="4309"/>
                </a:cubicBezTo>
                <a:cubicBezTo>
                  <a:pt x="2200" y="4368"/>
                  <a:pt x="2200" y="4368"/>
                  <a:pt x="2200" y="4368"/>
                </a:cubicBezTo>
                <a:cubicBezTo>
                  <a:pt x="2239" y="4407"/>
                  <a:pt x="2292" y="4429"/>
                  <a:pt x="2346" y="4429"/>
                </a:cubicBezTo>
                <a:cubicBezTo>
                  <a:pt x="2350" y="4428"/>
                  <a:pt x="2354" y="4429"/>
                  <a:pt x="2358" y="4429"/>
                </a:cubicBezTo>
                <a:cubicBezTo>
                  <a:pt x="2417" y="4425"/>
                  <a:pt x="2471" y="4396"/>
                  <a:pt x="2507" y="4350"/>
                </a:cubicBezTo>
                <a:cubicBezTo>
                  <a:pt x="2672" y="4139"/>
                  <a:pt x="2672" y="4139"/>
                  <a:pt x="2672" y="4139"/>
                </a:cubicBezTo>
                <a:cubicBezTo>
                  <a:pt x="2664" y="4164"/>
                  <a:pt x="2664" y="4164"/>
                  <a:pt x="2664" y="4164"/>
                </a:cubicBezTo>
                <a:cubicBezTo>
                  <a:pt x="2617" y="4316"/>
                  <a:pt x="2619" y="4437"/>
                  <a:pt x="2620" y="4526"/>
                </a:cubicBezTo>
                <a:cubicBezTo>
                  <a:pt x="2621" y="4552"/>
                  <a:pt x="2621" y="4575"/>
                  <a:pt x="2620" y="4595"/>
                </a:cubicBezTo>
                <a:cubicBezTo>
                  <a:pt x="2620" y="4597"/>
                  <a:pt x="2620" y="4597"/>
                  <a:pt x="2620" y="4597"/>
                </a:cubicBezTo>
                <a:cubicBezTo>
                  <a:pt x="2618" y="4598"/>
                  <a:pt x="2618" y="4598"/>
                  <a:pt x="2618" y="4598"/>
                </a:cubicBezTo>
                <a:cubicBezTo>
                  <a:pt x="2528" y="4682"/>
                  <a:pt x="2494" y="4795"/>
                  <a:pt x="2525" y="4907"/>
                </a:cubicBezTo>
                <a:cubicBezTo>
                  <a:pt x="2558" y="5029"/>
                  <a:pt x="2665" y="5123"/>
                  <a:pt x="2803" y="5154"/>
                </a:cubicBezTo>
                <a:cubicBezTo>
                  <a:pt x="2806" y="5155"/>
                  <a:pt x="2806" y="5155"/>
                  <a:pt x="2806" y="5155"/>
                </a:cubicBezTo>
                <a:cubicBezTo>
                  <a:pt x="2807" y="5158"/>
                  <a:pt x="2807" y="5158"/>
                  <a:pt x="2807" y="5158"/>
                </a:cubicBezTo>
                <a:cubicBezTo>
                  <a:pt x="2848" y="5402"/>
                  <a:pt x="2998" y="5611"/>
                  <a:pt x="3218" y="5732"/>
                </a:cubicBezTo>
                <a:cubicBezTo>
                  <a:pt x="3221" y="5733"/>
                  <a:pt x="3221" y="5733"/>
                  <a:pt x="3221" y="5733"/>
                </a:cubicBezTo>
                <a:cubicBezTo>
                  <a:pt x="3221" y="5868"/>
                  <a:pt x="3221" y="5868"/>
                  <a:pt x="3221" y="5868"/>
                </a:cubicBezTo>
                <a:cubicBezTo>
                  <a:pt x="3217" y="5869"/>
                  <a:pt x="3217" y="5869"/>
                  <a:pt x="3217" y="5869"/>
                </a:cubicBezTo>
                <a:cubicBezTo>
                  <a:pt x="3149" y="5887"/>
                  <a:pt x="3084" y="5902"/>
                  <a:pt x="3021" y="5917"/>
                </a:cubicBezTo>
                <a:cubicBezTo>
                  <a:pt x="2746" y="5981"/>
                  <a:pt x="2529" y="6031"/>
                  <a:pt x="2422" y="6287"/>
                </a:cubicBezTo>
                <a:cubicBezTo>
                  <a:pt x="2417" y="6300"/>
                  <a:pt x="2413" y="6311"/>
                  <a:pt x="2409" y="6324"/>
                </a:cubicBezTo>
                <a:cubicBezTo>
                  <a:pt x="2409" y="6324"/>
                  <a:pt x="2409" y="6324"/>
                  <a:pt x="2409" y="6324"/>
                </a:cubicBezTo>
                <a:cubicBezTo>
                  <a:pt x="2403" y="6343"/>
                  <a:pt x="2398" y="6363"/>
                  <a:pt x="2395" y="6374"/>
                </a:cubicBezTo>
                <a:cubicBezTo>
                  <a:pt x="2386" y="6422"/>
                  <a:pt x="2382" y="6459"/>
                  <a:pt x="2366" y="6597"/>
                </a:cubicBezTo>
                <a:cubicBezTo>
                  <a:pt x="2356" y="6687"/>
                  <a:pt x="2341" y="6823"/>
                  <a:pt x="2317" y="7033"/>
                </a:cubicBezTo>
                <a:cubicBezTo>
                  <a:pt x="2316" y="7037"/>
                  <a:pt x="2316" y="7037"/>
                  <a:pt x="2316" y="7037"/>
                </a:cubicBezTo>
                <a:cubicBezTo>
                  <a:pt x="1015" y="7037"/>
                  <a:pt x="1015" y="7037"/>
                  <a:pt x="1015" y="7037"/>
                </a:cubicBezTo>
                <a:cubicBezTo>
                  <a:pt x="1015" y="7032"/>
                  <a:pt x="1015" y="7032"/>
                  <a:pt x="1015" y="7032"/>
                </a:cubicBezTo>
                <a:cubicBezTo>
                  <a:pt x="1120" y="5051"/>
                  <a:pt x="1120" y="5051"/>
                  <a:pt x="1120" y="5051"/>
                </a:cubicBezTo>
                <a:cubicBezTo>
                  <a:pt x="1121" y="5024"/>
                  <a:pt x="1112" y="4998"/>
                  <a:pt x="1094" y="4978"/>
                </a:cubicBezTo>
                <a:cubicBezTo>
                  <a:pt x="1076" y="4958"/>
                  <a:pt x="1051" y="4946"/>
                  <a:pt x="1025" y="4945"/>
                </a:cubicBezTo>
                <a:cubicBezTo>
                  <a:pt x="998" y="4944"/>
                  <a:pt x="972" y="4953"/>
                  <a:pt x="952" y="4970"/>
                </a:cubicBezTo>
                <a:cubicBezTo>
                  <a:pt x="932" y="4988"/>
                  <a:pt x="920" y="5013"/>
                  <a:pt x="918" y="5040"/>
                </a:cubicBezTo>
                <a:cubicBezTo>
                  <a:pt x="896" y="5462"/>
                  <a:pt x="896" y="5462"/>
                  <a:pt x="896" y="5462"/>
                </a:cubicBezTo>
                <a:cubicBezTo>
                  <a:pt x="348" y="5405"/>
                  <a:pt x="348" y="5405"/>
                  <a:pt x="348" y="5405"/>
                </a:cubicBezTo>
                <a:lnTo>
                  <a:pt x="350" y="5384"/>
                </a:lnTo>
                <a:close/>
                <a:moveTo>
                  <a:pt x="325" y="5605"/>
                </a:moveTo>
                <a:cubicBezTo>
                  <a:pt x="879" y="5663"/>
                  <a:pt x="879" y="5663"/>
                  <a:pt x="879" y="5663"/>
                </a:cubicBezTo>
                <a:cubicBezTo>
                  <a:pt x="879" y="5668"/>
                  <a:pt x="879" y="5668"/>
                  <a:pt x="879" y="5668"/>
                </a:cubicBezTo>
                <a:cubicBezTo>
                  <a:pt x="810" y="7037"/>
                  <a:pt x="810" y="7037"/>
                  <a:pt x="810" y="7037"/>
                </a:cubicBezTo>
                <a:cubicBezTo>
                  <a:pt x="494" y="7037"/>
                  <a:pt x="494" y="7037"/>
                  <a:pt x="494" y="7037"/>
                </a:cubicBezTo>
                <a:cubicBezTo>
                  <a:pt x="316" y="7037"/>
                  <a:pt x="208" y="6925"/>
                  <a:pt x="204" y="6738"/>
                </a:cubicBezTo>
                <a:cubicBezTo>
                  <a:pt x="203" y="6694"/>
                  <a:pt x="204" y="6685"/>
                  <a:pt x="229" y="6467"/>
                </a:cubicBezTo>
                <a:cubicBezTo>
                  <a:pt x="246" y="6314"/>
                  <a:pt x="276" y="6057"/>
                  <a:pt x="325" y="5610"/>
                </a:cubicBezTo>
                <a:lnTo>
                  <a:pt x="325" y="560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8B9263-3DEB-4641-BA81-D8D95EF4C5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953" y="1126466"/>
            <a:ext cx="657676" cy="6016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2D635C4-F9E0-9D1B-9FDB-82D777F2B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1802" y="1198199"/>
            <a:ext cx="6375967" cy="495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2296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2B89F-767E-40B7-9EC2-E53858F9E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ore Seniors Than Kids…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BD5875-4EB9-4850-9046-CDF23D04B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8347">
              <a:defRPr/>
            </a:pPr>
            <a:fld id="{BD3C05EE-9FAA-A243-8636-83F50486E55C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458347">
                <a:defRPr/>
              </a:pPr>
              <a:t>3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911872-E0FE-421B-B6B4-C803AD388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206" y="1907795"/>
            <a:ext cx="8176391" cy="408819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0616876-54BF-36E2-D40D-9246A545E2FD}"/>
              </a:ext>
            </a:extLst>
          </p:cNvPr>
          <p:cNvSpPr txBox="1"/>
          <p:nvPr/>
        </p:nvSpPr>
        <p:spPr>
          <a:xfrm>
            <a:off x="330201" y="6379336"/>
            <a:ext cx="921563" cy="225209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defTabSz="1232315">
              <a:lnSpc>
                <a:spcPct val="85000"/>
              </a:lnSpc>
              <a:spcBef>
                <a:spcPts val="272"/>
              </a:spcBef>
              <a:defRPr/>
            </a:pPr>
            <a:r>
              <a:rPr lang="en-GB" sz="1067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rPr>
              <a:t>© 2024 Ipsos</a:t>
            </a:r>
            <a:endParaRPr lang="en-GB" sz="1600" dirty="0">
              <a:solidFill>
                <a:prstClr val="black">
                  <a:lumMod val="65000"/>
                  <a:lumOff val="35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81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08FCEA-9F0C-6797-B77F-4C6CA9B38031}"/>
              </a:ext>
            </a:extLst>
          </p:cNvPr>
          <p:cNvSpPr/>
          <p:nvPr/>
        </p:nvSpPr>
        <p:spPr>
          <a:xfrm>
            <a:off x="479051" y="1062682"/>
            <a:ext cx="4475075" cy="755359"/>
          </a:xfrm>
          <a:prstGeom prst="rect">
            <a:avLst/>
          </a:prstGeom>
          <a:solidFill>
            <a:schemeClr val="bg2">
              <a:alpha val="1011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0F5F7-6322-5EE9-74C9-249C6C61694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82932" y="6219235"/>
            <a:ext cx="360037" cy="365125"/>
          </a:xfrm>
        </p:spPr>
        <p:txBody>
          <a:bodyPr/>
          <a:lstStyle/>
          <a:p>
            <a:pPr defTabSz="914377">
              <a:defRPr/>
            </a:pPr>
            <a:fld id="{D61AABEC-672F-4B68-B914-690DA978312C}" type="slidenum">
              <a:rPr lang="en-GB">
                <a:solidFill>
                  <a:srgbClr val="2F469C">
                    <a:lumMod val="75000"/>
                  </a:srgbClr>
                </a:solidFill>
                <a:latin typeface="Arial Black"/>
              </a:rPr>
              <a:pPr defTabSz="914377">
                <a:defRPr/>
              </a:pPr>
              <a:t>35</a:t>
            </a:fld>
            <a:r>
              <a:rPr lang="en-GB">
                <a:solidFill>
                  <a:srgbClr val="2F469C">
                    <a:lumMod val="75000"/>
                  </a:srgbClr>
                </a:solidFill>
                <a:latin typeface="Arial Black"/>
              </a:rPr>
              <a:t> ‒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232F4DC-1C94-1227-E1C4-363B7C895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aly population by age and se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AAF018-2CD4-6795-3DF0-13BCD244FAB4}"/>
              </a:ext>
            </a:extLst>
          </p:cNvPr>
          <p:cNvSpPr txBox="1"/>
          <p:nvPr/>
        </p:nvSpPr>
        <p:spPr>
          <a:xfrm>
            <a:off x="1151260" y="1244291"/>
            <a:ext cx="29639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 b="1" dirty="0">
                <a:solidFill>
                  <a:srgbClr val="2F469C"/>
                </a:solidFill>
                <a:latin typeface="Arial"/>
              </a:rPr>
              <a:t>ITALY</a:t>
            </a: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74CB6FCB-6ADC-C402-CCE4-07A028318AC1}"/>
              </a:ext>
            </a:extLst>
          </p:cNvPr>
          <p:cNvGraphicFramePr>
            <a:graphicFrameLocks noGrp="1"/>
          </p:cNvGraphicFramePr>
          <p:nvPr/>
        </p:nvGraphicFramePr>
        <p:xfrm>
          <a:off x="479051" y="1818040"/>
          <a:ext cx="4475076" cy="422143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761233">
                  <a:extLst>
                    <a:ext uri="{9D8B030D-6E8A-4147-A177-3AD203B41FA5}">
                      <a16:colId xmlns:a16="http://schemas.microsoft.com/office/drawing/2014/main" val="2185152550"/>
                    </a:ext>
                  </a:extLst>
                </a:gridCol>
                <a:gridCol w="1713843">
                  <a:extLst>
                    <a:ext uri="{9D8B030D-6E8A-4147-A177-3AD203B41FA5}">
                      <a16:colId xmlns:a16="http://schemas.microsoft.com/office/drawing/2014/main" val="2589733917"/>
                    </a:ext>
                  </a:extLst>
                </a:gridCol>
              </a:tblGrid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Median Age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47</a:t>
                      </a:r>
                    </a:p>
                  </a:txBody>
                  <a:tcPr marL="137160" marR="137160" marT="137160" marB="137160" anchor="ctr">
                    <a:lnT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755190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Longevity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84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258211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ercentage 65+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24%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364743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Fertility Rate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1.3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537687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eak Fertility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2.65 (1964)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867453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elow Replacement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1976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633400"/>
                  </a:ext>
                </a:extLst>
              </a:tr>
            </a:tbl>
          </a:graphicData>
        </a:graphic>
      </p:graphicFrame>
      <p:sp>
        <p:nvSpPr>
          <p:cNvPr id="20" name="Freeform 29">
            <a:extLst>
              <a:ext uri="{FF2B5EF4-FFF2-40B4-BE49-F238E27FC236}">
                <a16:creationId xmlns:a16="http://schemas.microsoft.com/office/drawing/2014/main" id="{BA4776A9-9C74-2101-BFE1-89F6896DEC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82720" y="1198199"/>
            <a:ext cx="477259" cy="480132"/>
          </a:xfrm>
          <a:custGeom>
            <a:avLst/>
            <a:gdLst>
              <a:gd name="T0" fmla="*/ 7060 w 7204"/>
              <a:gd name="T1" fmla="*/ 7103 h 7239"/>
              <a:gd name="T2" fmla="*/ 5691 w 7204"/>
              <a:gd name="T3" fmla="*/ 3658 h 7239"/>
              <a:gd name="T4" fmla="*/ 6650 w 7204"/>
              <a:gd name="T5" fmla="*/ 1294 h 7239"/>
              <a:gd name="T6" fmla="*/ 3665 w 7204"/>
              <a:gd name="T7" fmla="*/ 1274 h 7239"/>
              <a:gd name="T8" fmla="*/ 2829 w 7204"/>
              <a:gd name="T9" fmla="*/ 3722 h 7239"/>
              <a:gd name="T10" fmla="*/ 3210 w 7204"/>
              <a:gd name="T11" fmla="*/ 2330 h 7239"/>
              <a:gd name="T12" fmla="*/ 3418 w 7204"/>
              <a:gd name="T13" fmla="*/ 1071 h 7239"/>
              <a:gd name="T14" fmla="*/ 605 w 7204"/>
              <a:gd name="T15" fmla="*/ 1757 h 7239"/>
              <a:gd name="T16" fmla="*/ 1517 w 7204"/>
              <a:gd name="T17" fmla="*/ 3380 h 7239"/>
              <a:gd name="T18" fmla="*/ 4683 w 7204"/>
              <a:gd name="T19" fmla="*/ 7036 h 7239"/>
              <a:gd name="T20" fmla="*/ 4179 w 7204"/>
              <a:gd name="T21" fmla="*/ 6816 h 7239"/>
              <a:gd name="T22" fmla="*/ 2814 w 7204"/>
              <a:gd name="T23" fmla="*/ 7037 h 7239"/>
              <a:gd name="T24" fmla="*/ 3125 w 7204"/>
              <a:gd name="T25" fmla="*/ 6100 h 7239"/>
              <a:gd name="T26" fmla="*/ 4642 w 7204"/>
              <a:gd name="T27" fmla="*/ 6663 h 7239"/>
              <a:gd name="T28" fmla="*/ 3934 w 7204"/>
              <a:gd name="T29" fmla="*/ 4406 h 7239"/>
              <a:gd name="T30" fmla="*/ 3857 w 7204"/>
              <a:gd name="T31" fmla="*/ 5570 h 7239"/>
              <a:gd name="T32" fmla="*/ 2997 w 7204"/>
              <a:gd name="T33" fmla="*/ 4925 h 7239"/>
              <a:gd name="T34" fmla="*/ 3569 w 7204"/>
              <a:gd name="T35" fmla="*/ 5828 h 7239"/>
              <a:gd name="T36" fmla="*/ 3845 w 7204"/>
              <a:gd name="T37" fmla="*/ 6040 h 7239"/>
              <a:gd name="T38" fmla="*/ 6674 w 7204"/>
              <a:gd name="T39" fmla="*/ 7038 h 7239"/>
              <a:gd name="T40" fmla="*/ 6217 w 7204"/>
              <a:gd name="T41" fmla="*/ 3997 h 7239"/>
              <a:gd name="T42" fmla="*/ 6290 w 7204"/>
              <a:gd name="T43" fmla="*/ 5040 h 7239"/>
              <a:gd name="T44" fmla="*/ 4788 w 7204"/>
              <a:gd name="T45" fmla="*/ 6302 h 7239"/>
              <a:gd name="T46" fmla="*/ 4399 w 7204"/>
              <a:gd name="T47" fmla="*/ 5154 h 7239"/>
              <a:gd name="T48" fmla="*/ 5914 w 7204"/>
              <a:gd name="T49" fmla="*/ 4666 h 7239"/>
              <a:gd name="T50" fmla="*/ 4586 w 7204"/>
              <a:gd name="T51" fmla="*/ 4491 h 7239"/>
              <a:gd name="T52" fmla="*/ 4106 w 7204"/>
              <a:gd name="T53" fmla="*/ 3616 h 7239"/>
              <a:gd name="T54" fmla="*/ 4413 w 7204"/>
              <a:gd name="T55" fmla="*/ 4722 h 7239"/>
              <a:gd name="T56" fmla="*/ 5406 w 7204"/>
              <a:gd name="T57" fmla="*/ 4337 h 7239"/>
              <a:gd name="T58" fmla="*/ 4575 w 7204"/>
              <a:gd name="T59" fmla="*/ 3880 h 7239"/>
              <a:gd name="T60" fmla="*/ 5486 w 7204"/>
              <a:gd name="T61" fmla="*/ 3661 h 7239"/>
              <a:gd name="T62" fmla="*/ 4195 w 7204"/>
              <a:gd name="T63" fmla="*/ 1726 h 7239"/>
              <a:gd name="T64" fmla="*/ 6131 w 7204"/>
              <a:gd name="T65" fmla="*/ 2090 h 7239"/>
              <a:gd name="T66" fmla="*/ 5161 w 7204"/>
              <a:gd name="T67" fmla="*/ 3300 h 7239"/>
              <a:gd name="T68" fmla="*/ 6468 w 7204"/>
              <a:gd name="T69" fmla="*/ 1803 h 7239"/>
              <a:gd name="T70" fmla="*/ 5712 w 7204"/>
              <a:gd name="T71" fmla="*/ 3365 h 7239"/>
              <a:gd name="T72" fmla="*/ 4140 w 7204"/>
              <a:gd name="T73" fmla="*/ 1528 h 7239"/>
              <a:gd name="T74" fmla="*/ 3999 w 7204"/>
              <a:gd name="T75" fmla="*/ 3414 h 7239"/>
              <a:gd name="T76" fmla="*/ 2822 w 7204"/>
              <a:gd name="T77" fmla="*/ 4422 h 7239"/>
              <a:gd name="T78" fmla="*/ 4371 w 7204"/>
              <a:gd name="T79" fmla="*/ 4496 h 7239"/>
              <a:gd name="T80" fmla="*/ 2840 w 7204"/>
              <a:gd name="T81" fmla="*/ 4495 h 7239"/>
              <a:gd name="T82" fmla="*/ 2795 w 7204"/>
              <a:gd name="T83" fmla="*/ 4939 h 7239"/>
              <a:gd name="T84" fmla="*/ 2488 w 7204"/>
              <a:gd name="T85" fmla="*/ 3782 h 7239"/>
              <a:gd name="T86" fmla="*/ 2366 w 7204"/>
              <a:gd name="T87" fmla="*/ 3458 h 7239"/>
              <a:gd name="T88" fmla="*/ 3217 w 7204"/>
              <a:gd name="T89" fmla="*/ 1804 h 7239"/>
              <a:gd name="T90" fmla="*/ 969 w 7204"/>
              <a:gd name="T91" fmla="*/ 1574 h 7239"/>
              <a:gd name="T92" fmla="*/ 829 w 7204"/>
              <a:gd name="T93" fmla="*/ 1241 h 7239"/>
              <a:gd name="T94" fmla="*/ 3274 w 7204"/>
              <a:gd name="T95" fmla="*/ 1536 h 7239"/>
              <a:gd name="T96" fmla="*/ 2873 w 7204"/>
              <a:gd name="T97" fmla="*/ 1099 h 7239"/>
              <a:gd name="T98" fmla="*/ 1073 w 7204"/>
              <a:gd name="T99" fmla="*/ 1748 h 7239"/>
              <a:gd name="T100" fmla="*/ 2762 w 7204"/>
              <a:gd name="T101" fmla="*/ 1291 h 7239"/>
              <a:gd name="T102" fmla="*/ 2485 w 7204"/>
              <a:gd name="T103" fmla="*/ 3194 h 7239"/>
              <a:gd name="T104" fmla="*/ 1995 w 7204"/>
              <a:gd name="T105" fmla="*/ 3300 h 7239"/>
              <a:gd name="T106" fmla="*/ 1732 w 7204"/>
              <a:gd name="T107" fmla="*/ 4225 h 7239"/>
              <a:gd name="T108" fmla="*/ 1244 w 7204"/>
              <a:gd name="T109" fmla="*/ 3933 h 7239"/>
              <a:gd name="T110" fmla="*/ 2041 w 7204"/>
              <a:gd name="T111" fmla="*/ 4933 h 7239"/>
              <a:gd name="T112" fmla="*/ 2664 w 7204"/>
              <a:gd name="T113" fmla="*/ 4164 h 7239"/>
              <a:gd name="T114" fmla="*/ 2807 w 7204"/>
              <a:gd name="T115" fmla="*/ 5158 h 7239"/>
              <a:gd name="T116" fmla="*/ 2409 w 7204"/>
              <a:gd name="T117" fmla="*/ 6324 h 7239"/>
              <a:gd name="T118" fmla="*/ 1094 w 7204"/>
              <a:gd name="T119" fmla="*/ 4978 h 7239"/>
              <a:gd name="T120" fmla="*/ 879 w 7204"/>
              <a:gd name="T121" fmla="*/ 5663 h 7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04" h="7239">
                <a:moveTo>
                  <a:pt x="43" y="6309"/>
                </a:moveTo>
                <a:cubicBezTo>
                  <a:pt x="1" y="6683"/>
                  <a:pt x="1" y="6683"/>
                  <a:pt x="2" y="6732"/>
                </a:cubicBezTo>
                <a:cubicBezTo>
                  <a:pt x="2" y="6740"/>
                  <a:pt x="2" y="6740"/>
                  <a:pt x="2" y="6740"/>
                </a:cubicBezTo>
                <a:cubicBezTo>
                  <a:pt x="0" y="6880"/>
                  <a:pt x="50" y="7008"/>
                  <a:pt x="141" y="7100"/>
                </a:cubicBezTo>
                <a:cubicBezTo>
                  <a:pt x="231" y="7191"/>
                  <a:pt x="353" y="7239"/>
                  <a:pt x="494" y="7239"/>
                </a:cubicBezTo>
                <a:cubicBezTo>
                  <a:pt x="1417" y="7239"/>
                  <a:pt x="1417" y="7239"/>
                  <a:pt x="1417" y="7239"/>
                </a:cubicBezTo>
                <a:cubicBezTo>
                  <a:pt x="6710" y="7239"/>
                  <a:pt x="6710" y="7239"/>
                  <a:pt x="6710" y="7239"/>
                </a:cubicBezTo>
                <a:cubicBezTo>
                  <a:pt x="6852" y="7239"/>
                  <a:pt x="6973" y="7192"/>
                  <a:pt x="7060" y="7103"/>
                </a:cubicBezTo>
                <a:cubicBezTo>
                  <a:pt x="7151" y="7011"/>
                  <a:pt x="7204" y="6875"/>
                  <a:pt x="7202" y="6739"/>
                </a:cubicBezTo>
                <a:cubicBezTo>
                  <a:pt x="7202" y="6731"/>
                  <a:pt x="7202" y="6731"/>
                  <a:pt x="7202" y="6731"/>
                </a:cubicBezTo>
                <a:cubicBezTo>
                  <a:pt x="7203" y="6686"/>
                  <a:pt x="7203" y="6686"/>
                  <a:pt x="7148" y="6196"/>
                </a:cubicBezTo>
                <a:cubicBezTo>
                  <a:pt x="7113" y="5886"/>
                  <a:pt x="7054" y="5367"/>
                  <a:pt x="6959" y="4509"/>
                </a:cubicBezTo>
                <a:cubicBezTo>
                  <a:pt x="6959" y="4509"/>
                  <a:pt x="6959" y="4509"/>
                  <a:pt x="6959" y="4509"/>
                </a:cubicBezTo>
                <a:cubicBezTo>
                  <a:pt x="6926" y="4239"/>
                  <a:pt x="6814" y="4054"/>
                  <a:pt x="6607" y="3928"/>
                </a:cubicBezTo>
                <a:cubicBezTo>
                  <a:pt x="6480" y="3850"/>
                  <a:pt x="6375" y="3825"/>
                  <a:pt x="6029" y="3741"/>
                </a:cubicBezTo>
                <a:cubicBezTo>
                  <a:pt x="5933" y="3718"/>
                  <a:pt x="5824" y="3691"/>
                  <a:pt x="5691" y="3658"/>
                </a:cubicBezTo>
                <a:cubicBezTo>
                  <a:pt x="5687" y="3657"/>
                  <a:pt x="5687" y="3657"/>
                  <a:pt x="5687" y="3657"/>
                </a:cubicBezTo>
                <a:cubicBezTo>
                  <a:pt x="5687" y="3616"/>
                  <a:pt x="5687" y="3616"/>
                  <a:pt x="5687" y="3616"/>
                </a:cubicBezTo>
                <a:cubicBezTo>
                  <a:pt x="6314" y="3616"/>
                  <a:pt x="6314" y="3616"/>
                  <a:pt x="6314" y="3616"/>
                </a:cubicBezTo>
                <a:cubicBezTo>
                  <a:pt x="6461" y="3616"/>
                  <a:pt x="6583" y="3496"/>
                  <a:pt x="6584" y="3349"/>
                </a:cubicBezTo>
                <a:cubicBezTo>
                  <a:pt x="6602" y="3043"/>
                  <a:pt x="6617" y="2800"/>
                  <a:pt x="6628" y="2605"/>
                </a:cubicBezTo>
                <a:cubicBezTo>
                  <a:pt x="6667" y="1952"/>
                  <a:pt x="6673" y="1852"/>
                  <a:pt x="6669" y="1804"/>
                </a:cubicBezTo>
                <a:cubicBezTo>
                  <a:pt x="6669" y="1786"/>
                  <a:pt x="6669" y="1766"/>
                  <a:pt x="6669" y="1744"/>
                </a:cubicBezTo>
                <a:cubicBezTo>
                  <a:pt x="6670" y="1608"/>
                  <a:pt x="6671" y="1402"/>
                  <a:pt x="6650" y="1294"/>
                </a:cubicBezTo>
                <a:cubicBezTo>
                  <a:pt x="6608" y="1009"/>
                  <a:pt x="6467" y="720"/>
                  <a:pt x="6263" y="503"/>
                </a:cubicBezTo>
                <a:cubicBezTo>
                  <a:pt x="6256" y="495"/>
                  <a:pt x="6256" y="495"/>
                  <a:pt x="6256" y="495"/>
                </a:cubicBezTo>
                <a:cubicBezTo>
                  <a:pt x="6051" y="278"/>
                  <a:pt x="5739" y="111"/>
                  <a:pt x="5556" y="76"/>
                </a:cubicBezTo>
                <a:cubicBezTo>
                  <a:pt x="5274" y="21"/>
                  <a:pt x="4866" y="0"/>
                  <a:pt x="4527" y="213"/>
                </a:cubicBezTo>
                <a:cubicBezTo>
                  <a:pt x="4380" y="305"/>
                  <a:pt x="4294" y="413"/>
                  <a:pt x="4256" y="469"/>
                </a:cubicBezTo>
                <a:cubicBezTo>
                  <a:pt x="4255" y="470"/>
                  <a:pt x="4255" y="470"/>
                  <a:pt x="4255" y="470"/>
                </a:cubicBezTo>
                <a:cubicBezTo>
                  <a:pt x="4253" y="471"/>
                  <a:pt x="4253" y="471"/>
                  <a:pt x="4253" y="471"/>
                </a:cubicBezTo>
                <a:cubicBezTo>
                  <a:pt x="3944" y="558"/>
                  <a:pt x="3741" y="836"/>
                  <a:pt x="3665" y="1274"/>
                </a:cubicBezTo>
                <a:cubicBezTo>
                  <a:pt x="3611" y="1588"/>
                  <a:pt x="3640" y="1882"/>
                  <a:pt x="3644" y="1915"/>
                </a:cubicBezTo>
                <a:cubicBezTo>
                  <a:pt x="3680" y="2483"/>
                  <a:pt x="3699" y="2839"/>
                  <a:pt x="3710" y="3051"/>
                </a:cubicBezTo>
                <a:cubicBezTo>
                  <a:pt x="3730" y="3421"/>
                  <a:pt x="3730" y="3421"/>
                  <a:pt x="3765" y="3481"/>
                </a:cubicBezTo>
                <a:cubicBezTo>
                  <a:pt x="3771" y="3490"/>
                  <a:pt x="3771" y="3490"/>
                  <a:pt x="3771" y="3490"/>
                </a:cubicBezTo>
                <a:cubicBezTo>
                  <a:pt x="3760" y="3489"/>
                  <a:pt x="3760" y="3489"/>
                  <a:pt x="3760" y="3489"/>
                </a:cubicBezTo>
                <a:cubicBezTo>
                  <a:pt x="3454" y="3440"/>
                  <a:pt x="3151" y="3532"/>
                  <a:pt x="2927" y="3744"/>
                </a:cubicBezTo>
                <a:cubicBezTo>
                  <a:pt x="2925" y="3746"/>
                  <a:pt x="2925" y="3746"/>
                  <a:pt x="2925" y="3746"/>
                </a:cubicBezTo>
                <a:cubicBezTo>
                  <a:pt x="2829" y="3722"/>
                  <a:pt x="2829" y="3722"/>
                  <a:pt x="2829" y="3722"/>
                </a:cubicBezTo>
                <a:cubicBezTo>
                  <a:pt x="2824" y="3719"/>
                  <a:pt x="2599" y="3611"/>
                  <a:pt x="2573" y="3599"/>
                </a:cubicBezTo>
                <a:cubicBezTo>
                  <a:pt x="2570" y="3597"/>
                  <a:pt x="2570" y="3597"/>
                  <a:pt x="2570" y="3597"/>
                </a:cubicBezTo>
                <a:cubicBezTo>
                  <a:pt x="2570" y="3377"/>
                  <a:pt x="2570" y="3377"/>
                  <a:pt x="2570" y="3377"/>
                </a:cubicBezTo>
                <a:cubicBezTo>
                  <a:pt x="2573" y="3376"/>
                  <a:pt x="2573" y="3376"/>
                  <a:pt x="2573" y="3376"/>
                </a:cubicBezTo>
                <a:cubicBezTo>
                  <a:pt x="3009" y="3159"/>
                  <a:pt x="3142" y="2761"/>
                  <a:pt x="3180" y="2600"/>
                </a:cubicBezTo>
                <a:cubicBezTo>
                  <a:pt x="3181" y="2594"/>
                  <a:pt x="3182" y="2592"/>
                  <a:pt x="3182" y="2590"/>
                </a:cubicBezTo>
                <a:cubicBezTo>
                  <a:pt x="3201" y="2506"/>
                  <a:pt x="3210" y="2420"/>
                  <a:pt x="3210" y="2334"/>
                </a:cubicBezTo>
                <a:cubicBezTo>
                  <a:pt x="3210" y="2330"/>
                  <a:pt x="3210" y="2330"/>
                  <a:pt x="3210" y="2330"/>
                </a:cubicBezTo>
                <a:cubicBezTo>
                  <a:pt x="3214" y="2328"/>
                  <a:pt x="3214" y="2328"/>
                  <a:pt x="3214" y="2328"/>
                </a:cubicBezTo>
                <a:cubicBezTo>
                  <a:pt x="3408" y="2286"/>
                  <a:pt x="3543" y="2135"/>
                  <a:pt x="3543" y="1960"/>
                </a:cubicBezTo>
                <a:cubicBezTo>
                  <a:pt x="3543" y="1889"/>
                  <a:pt x="3520" y="1820"/>
                  <a:pt x="3477" y="1760"/>
                </a:cubicBezTo>
                <a:cubicBezTo>
                  <a:pt x="3476" y="1759"/>
                  <a:pt x="3476" y="1759"/>
                  <a:pt x="3476" y="1759"/>
                </a:cubicBezTo>
                <a:cubicBezTo>
                  <a:pt x="3476" y="1757"/>
                  <a:pt x="3476" y="1757"/>
                  <a:pt x="3476" y="1757"/>
                </a:cubicBezTo>
                <a:cubicBezTo>
                  <a:pt x="3476" y="1731"/>
                  <a:pt x="3477" y="1706"/>
                  <a:pt x="3477" y="1682"/>
                </a:cubicBezTo>
                <a:cubicBezTo>
                  <a:pt x="3479" y="1449"/>
                  <a:pt x="3480" y="1296"/>
                  <a:pt x="3427" y="1098"/>
                </a:cubicBezTo>
                <a:cubicBezTo>
                  <a:pt x="3425" y="1093"/>
                  <a:pt x="3422" y="1084"/>
                  <a:pt x="3418" y="1071"/>
                </a:cubicBezTo>
                <a:cubicBezTo>
                  <a:pt x="3394" y="991"/>
                  <a:pt x="3331" y="778"/>
                  <a:pt x="3141" y="552"/>
                </a:cubicBezTo>
                <a:cubicBezTo>
                  <a:pt x="3141" y="552"/>
                  <a:pt x="3141" y="552"/>
                  <a:pt x="3141" y="552"/>
                </a:cubicBezTo>
                <a:cubicBezTo>
                  <a:pt x="3140" y="551"/>
                  <a:pt x="3140" y="551"/>
                  <a:pt x="3140" y="551"/>
                </a:cubicBezTo>
                <a:cubicBezTo>
                  <a:pt x="2861" y="219"/>
                  <a:pt x="2456" y="40"/>
                  <a:pt x="2041" y="40"/>
                </a:cubicBezTo>
                <a:cubicBezTo>
                  <a:pt x="1825" y="40"/>
                  <a:pt x="1606" y="89"/>
                  <a:pt x="1401" y="189"/>
                </a:cubicBezTo>
                <a:cubicBezTo>
                  <a:pt x="910" y="433"/>
                  <a:pt x="605" y="926"/>
                  <a:pt x="605" y="1474"/>
                </a:cubicBezTo>
                <a:cubicBezTo>
                  <a:pt x="605" y="1585"/>
                  <a:pt x="605" y="1585"/>
                  <a:pt x="605" y="1585"/>
                </a:cubicBezTo>
                <a:cubicBezTo>
                  <a:pt x="605" y="1666"/>
                  <a:pt x="605" y="1750"/>
                  <a:pt x="605" y="1757"/>
                </a:cubicBezTo>
                <a:cubicBezTo>
                  <a:pt x="605" y="1759"/>
                  <a:pt x="605" y="1759"/>
                  <a:pt x="605" y="1759"/>
                </a:cubicBezTo>
                <a:cubicBezTo>
                  <a:pt x="604" y="1760"/>
                  <a:pt x="604" y="1760"/>
                  <a:pt x="604" y="1760"/>
                </a:cubicBezTo>
                <a:cubicBezTo>
                  <a:pt x="536" y="1856"/>
                  <a:pt x="520" y="1973"/>
                  <a:pt x="562" y="2081"/>
                </a:cubicBezTo>
                <a:cubicBezTo>
                  <a:pt x="609" y="2205"/>
                  <a:pt x="724" y="2297"/>
                  <a:pt x="867" y="2328"/>
                </a:cubicBezTo>
                <a:cubicBezTo>
                  <a:pt x="871" y="2329"/>
                  <a:pt x="871" y="2329"/>
                  <a:pt x="871" y="2329"/>
                </a:cubicBezTo>
                <a:cubicBezTo>
                  <a:pt x="871" y="2333"/>
                  <a:pt x="871" y="2333"/>
                  <a:pt x="871" y="2333"/>
                </a:cubicBezTo>
                <a:cubicBezTo>
                  <a:pt x="881" y="2787"/>
                  <a:pt x="1121" y="3178"/>
                  <a:pt x="1514" y="3378"/>
                </a:cubicBezTo>
                <a:cubicBezTo>
                  <a:pt x="1517" y="3380"/>
                  <a:pt x="1517" y="3380"/>
                  <a:pt x="1517" y="3380"/>
                </a:cubicBezTo>
                <a:cubicBezTo>
                  <a:pt x="1517" y="3595"/>
                  <a:pt x="1517" y="3595"/>
                  <a:pt x="1517" y="3595"/>
                </a:cubicBezTo>
                <a:cubicBezTo>
                  <a:pt x="1514" y="3596"/>
                  <a:pt x="1514" y="3596"/>
                  <a:pt x="1514" y="3596"/>
                </a:cubicBezTo>
                <a:cubicBezTo>
                  <a:pt x="1246" y="3724"/>
                  <a:pt x="1246" y="3724"/>
                  <a:pt x="1246" y="3724"/>
                </a:cubicBezTo>
                <a:cubicBezTo>
                  <a:pt x="1166" y="3747"/>
                  <a:pt x="1093" y="3764"/>
                  <a:pt x="1022" y="3781"/>
                </a:cubicBezTo>
                <a:cubicBezTo>
                  <a:pt x="832" y="3826"/>
                  <a:pt x="682" y="3862"/>
                  <a:pt x="557" y="3955"/>
                </a:cubicBezTo>
                <a:cubicBezTo>
                  <a:pt x="356" y="4109"/>
                  <a:pt x="277" y="4249"/>
                  <a:pt x="245" y="4510"/>
                </a:cubicBezTo>
                <a:cubicBezTo>
                  <a:pt x="137" y="5484"/>
                  <a:pt x="76" y="6021"/>
                  <a:pt x="43" y="6309"/>
                </a:cubicBezTo>
                <a:close/>
                <a:moveTo>
                  <a:pt x="4683" y="7036"/>
                </a:moveTo>
                <a:cubicBezTo>
                  <a:pt x="4678" y="7037"/>
                  <a:pt x="4678" y="7037"/>
                  <a:pt x="4678" y="7037"/>
                </a:cubicBezTo>
                <a:cubicBezTo>
                  <a:pt x="4393" y="7037"/>
                  <a:pt x="4393" y="7037"/>
                  <a:pt x="4393" y="7037"/>
                </a:cubicBezTo>
                <a:cubicBezTo>
                  <a:pt x="4393" y="7032"/>
                  <a:pt x="4393" y="7032"/>
                  <a:pt x="4393" y="7032"/>
                </a:cubicBezTo>
                <a:cubicBezTo>
                  <a:pt x="4380" y="6805"/>
                  <a:pt x="4380" y="6805"/>
                  <a:pt x="4380" y="6805"/>
                </a:cubicBezTo>
                <a:cubicBezTo>
                  <a:pt x="4379" y="6778"/>
                  <a:pt x="4367" y="6753"/>
                  <a:pt x="4347" y="6735"/>
                </a:cubicBezTo>
                <a:cubicBezTo>
                  <a:pt x="4326" y="6717"/>
                  <a:pt x="4301" y="6708"/>
                  <a:pt x="4274" y="6710"/>
                </a:cubicBezTo>
                <a:cubicBezTo>
                  <a:pt x="4247" y="6711"/>
                  <a:pt x="4222" y="6723"/>
                  <a:pt x="4204" y="6743"/>
                </a:cubicBezTo>
                <a:cubicBezTo>
                  <a:pt x="4186" y="6763"/>
                  <a:pt x="4177" y="6789"/>
                  <a:pt x="4179" y="6816"/>
                </a:cubicBezTo>
                <a:cubicBezTo>
                  <a:pt x="4191" y="7037"/>
                  <a:pt x="4191" y="7037"/>
                  <a:pt x="4191" y="7037"/>
                </a:cubicBezTo>
                <a:cubicBezTo>
                  <a:pt x="3016" y="7037"/>
                  <a:pt x="3016" y="7037"/>
                  <a:pt x="3016" y="7037"/>
                </a:cubicBezTo>
                <a:cubicBezTo>
                  <a:pt x="3016" y="7032"/>
                  <a:pt x="3016" y="7032"/>
                  <a:pt x="3016" y="7032"/>
                </a:cubicBezTo>
                <a:cubicBezTo>
                  <a:pt x="3028" y="6816"/>
                  <a:pt x="3028" y="6816"/>
                  <a:pt x="3028" y="6816"/>
                </a:cubicBezTo>
                <a:cubicBezTo>
                  <a:pt x="3030" y="6789"/>
                  <a:pt x="3021" y="6763"/>
                  <a:pt x="3003" y="6743"/>
                </a:cubicBezTo>
                <a:cubicBezTo>
                  <a:pt x="2985" y="6723"/>
                  <a:pt x="2960" y="6711"/>
                  <a:pt x="2933" y="6710"/>
                </a:cubicBezTo>
                <a:cubicBezTo>
                  <a:pt x="2878" y="6706"/>
                  <a:pt x="2830" y="6749"/>
                  <a:pt x="2827" y="6805"/>
                </a:cubicBezTo>
                <a:cubicBezTo>
                  <a:pt x="2814" y="7037"/>
                  <a:pt x="2814" y="7037"/>
                  <a:pt x="2814" y="7037"/>
                </a:cubicBezTo>
                <a:cubicBezTo>
                  <a:pt x="2810" y="7037"/>
                  <a:pt x="2810" y="7037"/>
                  <a:pt x="2810" y="7037"/>
                </a:cubicBezTo>
                <a:cubicBezTo>
                  <a:pt x="2521" y="7037"/>
                  <a:pt x="2521" y="7037"/>
                  <a:pt x="2521" y="7037"/>
                </a:cubicBezTo>
                <a:cubicBezTo>
                  <a:pt x="2521" y="7032"/>
                  <a:pt x="2521" y="7032"/>
                  <a:pt x="2521" y="7032"/>
                </a:cubicBezTo>
                <a:cubicBezTo>
                  <a:pt x="2535" y="6914"/>
                  <a:pt x="2544" y="6817"/>
                  <a:pt x="2553" y="6731"/>
                </a:cubicBezTo>
                <a:cubicBezTo>
                  <a:pt x="2587" y="6392"/>
                  <a:pt x="2596" y="6301"/>
                  <a:pt x="2739" y="6216"/>
                </a:cubicBezTo>
                <a:cubicBezTo>
                  <a:pt x="2800" y="6179"/>
                  <a:pt x="2846" y="6168"/>
                  <a:pt x="2947" y="6144"/>
                </a:cubicBezTo>
                <a:cubicBezTo>
                  <a:pt x="2992" y="6133"/>
                  <a:pt x="3048" y="6120"/>
                  <a:pt x="3122" y="6101"/>
                </a:cubicBezTo>
                <a:cubicBezTo>
                  <a:pt x="3125" y="6100"/>
                  <a:pt x="3125" y="6100"/>
                  <a:pt x="3125" y="6100"/>
                </a:cubicBezTo>
                <a:cubicBezTo>
                  <a:pt x="3127" y="6102"/>
                  <a:pt x="3127" y="6102"/>
                  <a:pt x="3127" y="6102"/>
                </a:cubicBezTo>
                <a:cubicBezTo>
                  <a:pt x="3247" y="6238"/>
                  <a:pt x="3420" y="6317"/>
                  <a:pt x="3602" y="6317"/>
                </a:cubicBezTo>
                <a:cubicBezTo>
                  <a:pt x="3784" y="6317"/>
                  <a:pt x="3957" y="6238"/>
                  <a:pt x="4078" y="6102"/>
                </a:cubicBezTo>
                <a:cubicBezTo>
                  <a:pt x="4080" y="6100"/>
                  <a:pt x="4080" y="6100"/>
                  <a:pt x="4080" y="6100"/>
                </a:cubicBezTo>
                <a:cubicBezTo>
                  <a:pt x="4087" y="6102"/>
                  <a:pt x="4087" y="6102"/>
                  <a:pt x="4087" y="6102"/>
                </a:cubicBezTo>
                <a:cubicBezTo>
                  <a:pt x="4157" y="6121"/>
                  <a:pt x="4213" y="6134"/>
                  <a:pt x="4258" y="6145"/>
                </a:cubicBezTo>
                <a:cubicBezTo>
                  <a:pt x="4352" y="6166"/>
                  <a:pt x="4403" y="6179"/>
                  <a:pt x="4465" y="6216"/>
                </a:cubicBezTo>
                <a:cubicBezTo>
                  <a:pt x="4608" y="6301"/>
                  <a:pt x="4617" y="6400"/>
                  <a:pt x="4642" y="6663"/>
                </a:cubicBezTo>
                <a:cubicBezTo>
                  <a:pt x="4651" y="6760"/>
                  <a:pt x="4662" y="6881"/>
                  <a:pt x="4683" y="7032"/>
                </a:cubicBezTo>
                <a:lnTo>
                  <a:pt x="4683" y="7036"/>
                </a:lnTo>
                <a:close/>
                <a:moveTo>
                  <a:pt x="2997" y="4684"/>
                </a:moveTo>
                <a:cubicBezTo>
                  <a:pt x="2997" y="4678"/>
                  <a:pt x="2997" y="4678"/>
                  <a:pt x="2997" y="4678"/>
                </a:cubicBezTo>
                <a:cubicBezTo>
                  <a:pt x="3003" y="4679"/>
                  <a:pt x="3003" y="4679"/>
                  <a:pt x="3003" y="4679"/>
                </a:cubicBezTo>
                <a:cubicBezTo>
                  <a:pt x="3458" y="4773"/>
                  <a:pt x="3785" y="4591"/>
                  <a:pt x="3926" y="4406"/>
                </a:cubicBezTo>
                <a:cubicBezTo>
                  <a:pt x="3930" y="4400"/>
                  <a:pt x="3930" y="4400"/>
                  <a:pt x="3930" y="4400"/>
                </a:cubicBezTo>
                <a:cubicBezTo>
                  <a:pt x="3934" y="4406"/>
                  <a:pt x="3934" y="4406"/>
                  <a:pt x="3934" y="4406"/>
                </a:cubicBezTo>
                <a:cubicBezTo>
                  <a:pt x="4026" y="4541"/>
                  <a:pt x="4130" y="4601"/>
                  <a:pt x="4201" y="4627"/>
                </a:cubicBezTo>
                <a:cubicBezTo>
                  <a:pt x="4204" y="4628"/>
                  <a:pt x="4204" y="4628"/>
                  <a:pt x="4204" y="4628"/>
                </a:cubicBezTo>
                <a:cubicBezTo>
                  <a:pt x="4204" y="4631"/>
                  <a:pt x="4204" y="4631"/>
                  <a:pt x="4204" y="4631"/>
                </a:cubicBezTo>
                <a:cubicBezTo>
                  <a:pt x="4204" y="4785"/>
                  <a:pt x="4204" y="4879"/>
                  <a:pt x="4204" y="4939"/>
                </a:cubicBezTo>
                <a:cubicBezTo>
                  <a:pt x="4204" y="5039"/>
                  <a:pt x="4204" y="5039"/>
                  <a:pt x="4203" y="5051"/>
                </a:cubicBezTo>
                <a:cubicBezTo>
                  <a:pt x="4202" y="5067"/>
                  <a:pt x="4202" y="5067"/>
                  <a:pt x="4202" y="5067"/>
                </a:cubicBezTo>
                <a:cubicBezTo>
                  <a:pt x="4202" y="5071"/>
                  <a:pt x="4202" y="5076"/>
                  <a:pt x="4201" y="5080"/>
                </a:cubicBezTo>
                <a:cubicBezTo>
                  <a:pt x="4181" y="5292"/>
                  <a:pt x="4049" y="5479"/>
                  <a:pt x="3857" y="5570"/>
                </a:cubicBezTo>
                <a:cubicBezTo>
                  <a:pt x="3855" y="5570"/>
                  <a:pt x="3855" y="5570"/>
                  <a:pt x="3855" y="5570"/>
                </a:cubicBezTo>
                <a:cubicBezTo>
                  <a:pt x="3855" y="5570"/>
                  <a:pt x="3854" y="5571"/>
                  <a:pt x="3852" y="5572"/>
                </a:cubicBezTo>
                <a:cubicBezTo>
                  <a:pt x="3810" y="5591"/>
                  <a:pt x="3714" y="5627"/>
                  <a:pt x="3593" y="5627"/>
                </a:cubicBezTo>
                <a:cubicBezTo>
                  <a:pt x="3482" y="5627"/>
                  <a:pt x="3350" y="5596"/>
                  <a:pt x="3222" y="5493"/>
                </a:cubicBezTo>
                <a:cubicBezTo>
                  <a:pt x="3221" y="5492"/>
                  <a:pt x="3221" y="5492"/>
                  <a:pt x="3221" y="5492"/>
                </a:cubicBezTo>
                <a:cubicBezTo>
                  <a:pt x="3220" y="5492"/>
                  <a:pt x="3219" y="5490"/>
                  <a:pt x="3217" y="5489"/>
                </a:cubicBezTo>
                <a:cubicBezTo>
                  <a:pt x="3148" y="5432"/>
                  <a:pt x="3029" y="5307"/>
                  <a:pt x="3002" y="5102"/>
                </a:cubicBezTo>
                <a:cubicBezTo>
                  <a:pt x="2996" y="5058"/>
                  <a:pt x="2997" y="5019"/>
                  <a:pt x="2997" y="4925"/>
                </a:cubicBezTo>
                <a:cubicBezTo>
                  <a:pt x="2997" y="4869"/>
                  <a:pt x="2998" y="4793"/>
                  <a:pt x="2997" y="4684"/>
                </a:cubicBezTo>
                <a:close/>
                <a:moveTo>
                  <a:pt x="3422" y="5849"/>
                </a:moveTo>
                <a:cubicBezTo>
                  <a:pt x="3422" y="5834"/>
                  <a:pt x="3421" y="5822"/>
                  <a:pt x="3422" y="5814"/>
                </a:cubicBezTo>
                <a:cubicBezTo>
                  <a:pt x="3423" y="5808"/>
                  <a:pt x="3423" y="5808"/>
                  <a:pt x="3423" y="5808"/>
                </a:cubicBezTo>
                <a:cubicBezTo>
                  <a:pt x="3428" y="5810"/>
                  <a:pt x="3428" y="5810"/>
                  <a:pt x="3428" y="5810"/>
                </a:cubicBezTo>
                <a:cubicBezTo>
                  <a:pt x="3472" y="5819"/>
                  <a:pt x="3517" y="5825"/>
                  <a:pt x="3562" y="5827"/>
                </a:cubicBezTo>
                <a:cubicBezTo>
                  <a:pt x="3563" y="5827"/>
                  <a:pt x="3565" y="5827"/>
                  <a:pt x="3566" y="5827"/>
                </a:cubicBezTo>
                <a:cubicBezTo>
                  <a:pt x="3567" y="5827"/>
                  <a:pt x="3568" y="5828"/>
                  <a:pt x="3569" y="5828"/>
                </a:cubicBezTo>
                <a:cubicBezTo>
                  <a:pt x="3577" y="5828"/>
                  <a:pt x="3577" y="5828"/>
                  <a:pt x="3577" y="5828"/>
                </a:cubicBezTo>
                <a:cubicBezTo>
                  <a:pt x="3647" y="5830"/>
                  <a:pt x="3721" y="5823"/>
                  <a:pt x="3776" y="5809"/>
                </a:cubicBezTo>
                <a:cubicBezTo>
                  <a:pt x="3781" y="5808"/>
                  <a:pt x="3781" y="5808"/>
                  <a:pt x="3781" y="5808"/>
                </a:cubicBezTo>
                <a:cubicBezTo>
                  <a:pt x="3782" y="5813"/>
                  <a:pt x="3782" y="5813"/>
                  <a:pt x="3782" y="5813"/>
                </a:cubicBezTo>
                <a:cubicBezTo>
                  <a:pt x="3783" y="5822"/>
                  <a:pt x="3783" y="5834"/>
                  <a:pt x="3782" y="5849"/>
                </a:cubicBezTo>
                <a:cubicBezTo>
                  <a:pt x="3780" y="5902"/>
                  <a:pt x="3778" y="5983"/>
                  <a:pt x="3845" y="6032"/>
                </a:cubicBezTo>
                <a:cubicBezTo>
                  <a:pt x="3850" y="6036"/>
                  <a:pt x="3850" y="6036"/>
                  <a:pt x="3850" y="6036"/>
                </a:cubicBezTo>
                <a:cubicBezTo>
                  <a:pt x="3845" y="6040"/>
                  <a:pt x="3845" y="6040"/>
                  <a:pt x="3845" y="6040"/>
                </a:cubicBezTo>
                <a:cubicBezTo>
                  <a:pt x="3771" y="6090"/>
                  <a:pt x="3687" y="6115"/>
                  <a:pt x="3602" y="6115"/>
                </a:cubicBezTo>
                <a:cubicBezTo>
                  <a:pt x="3518" y="6115"/>
                  <a:pt x="3433" y="6090"/>
                  <a:pt x="3359" y="6040"/>
                </a:cubicBezTo>
                <a:cubicBezTo>
                  <a:pt x="3354" y="6036"/>
                  <a:pt x="3354" y="6036"/>
                  <a:pt x="3354" y="6036"/>
                </a:cubicBezTo>
                <a:cubicBezTo>
                  <a:pt x="3359" y="6032"/>
                  <a:pt x="3359" y="6032"/>
                  <a:pt x="3359" y="6032"/>
                </a:cubicBezTo>
                <a:cubicBezTo>
                  <a:pt x="3426" y="5984"/>
                  <a:pt x="3424" y="5902"/>
                  <a:pt x="3422" y="5849"/>
                </a:cubicBezTo>
                <a:close/>
                <a:moveTo>
                  <a:pt x="6998" y="6673"/>
                </a:moveTo>
                <a:cubicBezTo>
                  <a:pt x="7009" y="6800"/>
                  <a:pt x="6983" y="6894"/>
                  <a:pt x="6917" y="6961"/>
                </a:cubicBezTo>
                <a:cubicBezTo>
                  <a:pt x="6852" y="7026"/>
                  <a:pt x="6775" y="7038"/>
                  <a:pt x="6674" y="7038"/>
                </a:cubicBezTo>
                <a:cubicBezTo>
                  <a:pt x="6650" y="7038"/>
                  <a:pt x="6623" y="7037"/>
                  <a:pt x="6596" y="7036"/>
                </a:cubicBezTo>
                <a:cubicBezTo>
                  <a:pt x="6538" y="7035"/>
                  <a:pt x="6473" y="7033"/>
                  <a:pt x="6400" y="7037"/>
                </a:cubicBezTo>
                <a:cubicBezTo>
                  <a:pt x="6395" y="7037"/>
                  <a:pt x="6395" y="7037"/>
                  <a:pt x="6395" y="7037"/>
                </a:cubicBezTo>
                <a:cubicBezTo>
                  <a:pt x="6323" y="5663"/>
                  <a:pt x="6323" y="5663"/>
                  <a:pt x="6323" y="5663"/>
                </a:cubicBezTo>
                <a:cubicBezTo>
                  <a:pt x="6879" y="5605"/>
                  <a:pt x="6879" y="5605"/>
                  <a:pt x="6879" y="5605"/>
                </a:cubicBezTo>
                <a:lnTo>
                  <a:pt x="6998" y="6673"/>
                </a:lnTo>
                <a:close/>
                <a:moveTo>
                  <a:pt x="6217" y="4003"/>
                </a:moveTo>
                <a:cubicBezTo>
                  <a:pt x="6217" y="3997"/>
                  <a:pt x="6217" y="3997"/>
                  <a:pt x="6217" y="3997"/>
                </a:cubicBezTo>
                <a:cubicBezTo>
                  <a:pt x="6223" y="3998"/>
                  <a:pt x="6223" y="3998"/>
                  <a:pt x="6223" y="3998"/>
                </a:cubicBezTo>
                <a:cubicBezTo>
                  <a:pt x="6231" y="4001"/>
                  <a:pt x="6241" y="4004"/>
                  <a:pt x="6255" y="4007"/>
                </a:cubicBezTo>
                <a:cubicBezTo>
                  <a:pt x="6370" y="4036"/>
                  <a:pt x="6677" y="4115"/>
                  <a:pt x="6743" y="4436"/>
                </a:cubicBezTo>
                <a:cubicBezTo>
                  <a:pt x="6749" y="4463"/>
                  <a:pt x="6755" y="4501"/>
                  <a:pt x="6759" y="4533"/>
                </a:cubicBezTo>
                <a:cubicBezTo>
                  <a:pt x="6856" y="5404"/>
                  <a:pt x="6856" y="5404"/>
                  <a:pt x="6856" y="5404"/>
                </a:cubicBezTo>
                <a:cubicBezTo>
                  <a:pt x="6312" y="5461"/>
                  <a:pt x="6312" y="5461"/>
                  <a:pt x="6312" y="5461"/>
                </a:cubicBezTo>
                <a:cubicBezTo>
                  <a:pt x="6312" y="5456"/>
                  <a:pt x="6312" y="5456"/>
                  <a:pt x="6312" y="5456"/>
                </a:cubicBezTo>
                <a:cubicBezTo>
                  <a:pt x="6290" y="5040"/>
                  <a:pt x="6290" y="5040"/>
                  <a:pt x="6290" y="5040"/>
                </a:cubicBezTo>
                <a:cubicBezTo>
                  <a:pt x="6288" y="5013"/>
                  <a:pt x="6276" y="4989"/>
                  <a:pt x="6256" y="4970"/>
                </a:cubicBezTo>
                <a:cubicBezTo>
                  <a:pt x="6236" y="4952"/>
                  <a:pt x="6210" y="4943"/>
                  <a:pt x="6184" y="4945"/>
                </a:cubicBezTo>
                <a:cubicBezTo>
                  <a:pt x="6128" y="4948"/>
                  <a:pt x="6085" y="4996"/>
                  <a:pt x="6088" y="5051"/>
                </a:cubicBezTo>
                <a:cubicBezTo>
                  <a:pt x="6193" y="7037"/>
                  <a:pt x="6193" y="7037"/>
                  <a:pt x="6193" y="7037"/>
                </a:cubicBezTo>
                <a:cubicBezTo>
                  <a:pt x="4888" y="7037"/>
                  <a:pt x="4888" y="7037"/>
                  <a:pt x="4888" y="7037"/>
                </a:cubicBezTo>
                <a:cubicBezTo>
                  <a:pt x="4888" y="7033"/>
                  <a:pt x="4888" y="7033"/>
                  <a:pt x="4888" y="7033"/>
                </a:cubicBezTo>
                <a:cubicBezTo>
                  <a:pt x="4865" y="6864"/>
                  <a:pt x="4852" y="6734"/>
                  <a:pt x="4841" y="6629"/>
                </a:cubicBezTo>
                <a:cubicBezTo>
                  <a:pt x="4826" y="6473"/>
                  <a:pt x="4816" y="6379"/>
                  <a:pt x="4788" y="6302"/>
                </a:cubicBezTo>
                <a:cubicBezTo>
                  <a:pt x="4729" y="6142"/>
                  <a:pt x="4586" y="6019"/>
                  <a:pt x="4406" y="5973"/>
                </a:cubicBezTo>
                <a:cubicBezTo>
                  <a:pt x="3984" y="5868"/>
                  <a:pt x="3984" y="5868"/>
                  <a:pt x="3984" y="5868"/>
                </a:cubicBezTo>
                <a:cubicBezTo>
                  <a:pt x="3984" y="5731"/>
                  <a:pt x="3984" y="5731"/>
                  <a:pt x="3984" y="5731"/>
                </a:cubicBezTo>
                <a:cubicBezTo>
                  <a:pt x="3986" y="5730"/>
                  <a:pt x="3986" y="5730"/>
                  <a:pt x="3986" y="5730"/>
                </a:cubicBezTo>
                <a:cubicBezTo>
                  <a:pt x="4202" y="5612"/>
                  <a:pt x="4354" y="5398"/>
                  <a:pt x="4394" y="5158"/>
                </a:cubicBezTo>
                <a:cubicBezTo>
                  <a:pt x="4395" y="5156"/>
                  <a:pt x="4395" y="5156"/>
                  <a:pt x="4395" y="5156"/>
                </a:cubicBezTo>
                <a:cubicBezTo>
                  <a:pt x="4397" y="5155"/>
                  <a:pt x="4397" y="5155"/>
                  <a:pt x="4397" y="5155"/>
                </a:cubicBezTo>
                <a:cubicBezTo>
                  <a:pt x="4397" y="5154"/>
                  <a:pt x="4398" y="5154"/>
                  <a:pt x="4399" y="5154"/>
                </a:cubicBezTo>
                <a:cubicBezTo>
                  <a:pt x="4440" y="5145"/>
                  <a:pt x="4644" y="5089"/>
                  <a:pt x="4681" y="4882"/>
                </a:cubicBezTo>
                <a:cubicBezTo>
                  <a:pt x="4693" y="4816"/>
                  <a:pt x="4683" y="4750"/>
                  <a:pt x="4652" y="4690"/>
                </a:cubicBezTo>
                <a:cubicBezTo>
                  <a:pt x="4649" y="4684"/>
                  <a:pt x="4649" y="4684"/>
                  <a:pt x="4649" y="4684"/>
                </a:cubicBezTo>
                <a:cubicBezTo>
                  <a:pt x="4656" y="4683"/>
                  <a:pt x="4656" y="4683"/>
                  <a:pt x="4656" y="4683"/>
                </a:cubicBezTo>
                <a:cubicBezTo>
                  <a:pt x="4858" y="4642"/>
                  <a:pt x="5057" y="4490"/>
                  <a:pt x="5157" y="4403"/>
                </a:cubicBezTo>
                <a:cubicBezTo>
                  <a:pt x="5161" y="4400"/>
                  <a:pt x="5161" y="4400"/>
                  <a:pt x="5161" y="4400"/>
                </a:cubicBezTo>
                <a:cubicBezTo>
                  <a:pt x="5164" y="4403"/>
                  <a:pt x="5164" y="4403"/>
                  <a:pt x="5164" y="4403"/>
                </a:cubicBezTo>
                <a:cubicBezTo>
                  <a:pt x="5455" y="4655"/>
                  <a:pt x="5721" y="4748"/>
                  <a:pt x="5914" y="4666"/>
                </a:cubicBezTo>
                <a:cubicBezTo>
                  <a:pt x="6095" y="4589"/>
                  <a:pt x="6200" y="4359"/>
                  <a:pt x="6217" y="4003"/>
                </a:cubicBezTo>
                <a:close/>
                <a:moveTo>
                  <a:pt x="4527" y="4134"/>
                </a:moveTo>
                <a:cubicBezTo>
                  <a:pt x="4521" y="4117"/>
                  <a:pt x="4521" y="4117"/>
                  <a:pt x="4521" y="4117"/>
                </a:cubicBezTo>
                <a:cubicBezTo>
                  <a:pt x="4534" y="4129"/>
                  <a:pt x="4534" y="4129"/>
                  <a:pt x="4534" y="4129"/>
                </a:cubicBezTo>
                <a:cubicBezTo>
                  <a:pt x="4646" y="4224"/>
                  <a:pt x="4773" y="4292"/>
                  <a:pt x="4912" y="4329"/>
                </a:cubicBezTo>
                <a:cubicBezTo>
                  <a:pt x="4922" y="4331"/>
                  <a:pt x="4922" y="4331"/>
                  <a:pt x="4922" y="4331"/>
                </a:cubicBezTo>
                <a:cubicBezTo>
                  <a:pt x="4914" y="4337"/>
                  <a:pt x="4914" y="4337"/>
                  <a:pt x="4914" y="4337"/>
                </a:cubicBezTo>
                <a:cubicBezTo>
                  <a:pt x="4826" y="4401"/>
                  <a:pt x="4697" y="4479"/>
                  <a:pt x="4586" y="4491"/>
                </a:cubicBezTo>
                <a:cubicBezTo>
                  <a:pt x="4581" y="4492"/>
                  <a:pt x="4581" y="4492"/>
                  <a:pt x="4581" y="4492"/>
                </a:cubicBezTo>
                <a:cubicBezTo>
                  <a:pt x="4581" y="4487"/>
                  <a:pt x="4581" y="4487"/>
                  <a:pt x="4581" y="4487"/>
                </a:cubicBezTo>
                <a:cubicBezTo>
                  <a:pt x="4580" y="4484"/>
                  <a:pt x="4580" y="4479"/>
                  <a:pt x="4581" y="4470"/>
                </a:cubicBezTo>
                <a:cubicBezTo>
                  <a:pt x="4581" y="4427"/>
                  <a:pt x="4582" y="4295"/>
                  <a:pt x="4527" y="4134"/>
                </a:cubicBezTo>
                <a:close/>
                <a:moveTo>
                  <a:pt x="4276" y="3746"/>
                </a:moveTo>
                <a:cubicBezTo>
                  <a:pt x="4274" y="3745"/>
                  <a:pt x="4274" y="3745"/>
                  <a:pt x="4274" y="3745"/>
                </a:cubicBezTo>
                <a:cubicBezTo>
                  <a:pt x="4222" y="3695"/>
                  <a:pt x="4180" y="3662"/>
                  <a:pt x="4120" y="3625"/>
                </a:cubicBezTo>
                <a:cubicBezTo>
                  <a:pt x="4106" y="3616"/>
                  <a:pt x="4106" y="3616"/>
                  <a:pt x="4106" y="3616"/>
                </a:cubicBezTo>
                <a:cubicBezTo>
                  <a:pt x="4634" y="3616"/>
                  <a:pt x="4634" y="3616"/>
                  <a:pt x="4634" y="3616"/>
                </a:cubicBezTo>
                <a:cubicBezTo>
                  <a:pt x="4634" y="3657"/>
                  <a:pt x="4634" y="3657"/>
                  <a:pt x="4634" y="3657"/>
                </a:cubicBezTo>
                <a:lnTo>
                  <a:pt x="4276" y="3746"/>
                </a:lnTo>
                <a:close/>
                <a:moveTo>
                  <a:pt x="4485" y="4828"/>
                </a:moveTo>
                <a:cubicBezTo>
                  <a:pt x="4485" y="4882"/>
                  <a:pt x="4447" y="4910"/>
                  <a:pt x="4419" y="4930"/>
                </a:cubicBezTo>
                <a:cubicBezTo>
                  <a:pt x="4406" y="4941"/>
                  <a:pt x="4406" y="4941"/>
                  <a:pt x="4406" y="4941"/>
                </a:cubicBezTo>
                <a:cubicBezTo>
                  <a:pt x="4406" y="4718"/>
                  <a:pt x="4406" y="4718"/>
                  <a:pt x="4406" y="4718"/>
                </a:cubicBezTo>
                <a:cubicBezTo>
                  <a:pt x="4413" y="4722"/>
                  <a:pt x="4413" y="4722"/>
                  <a:pt x="4413" y="4722"/>
                </a:cubicBezTo>
                <a:cubicBezTo>
                  <a:pt x="4458" y="4748"/>
                  <a:pt x="4485" y="4787"/>
                  <a:pt x="4485" y="4828"/>
                </a:cubicBezTo>
                <a:close/>
                <a:moveTo>
                  <a:pt x="5957" y="3935"/>
                </a:moveTo>
                <a:cubicBezTo>
                  <a:pt x="5959" y="3933"/>
                  <a:pt x="5959" y="3933"/>
                  <a:pt x="5959" y="3933"/>
                </a:cubicBezTo>
                <a:cubicBezTo>
                  <a:pt x="6017" y="3947"/>
                  <a:pt x="6017" y="3947"/>
                  <a:pt x="6017" y="3947"/>
                </a:cubicBezTo>
                <a:cubicBezTo>
                  <a:pt x="6017" y="3951"/>
                  <a:pt x="6017" y="3951"/>
                  <a:pt x="6017" y="3951"/>
                </a:cubicBezTo>
                <a:cubicBezTo>
                  <a:pt x="6008" y="4247"/>
                  <a:pt x="5944" y="4434"/>
                  <a:pt x="5835" y="4479"/>
                </a:cubicBezTo>
                <a:cubicBezTo>
                  <a:pt x="5813" y="4489"/>
                  <a:pt x="5789" y="4493"/>
                  <a:pt x="5764" y="4493"/>
                </a:cubicBezTo>
                <a:cubicBezTo>
                  <a:pt x="5643" y="4493"/>
                  <a:pt x="5493" y="4400"/>
                  <a:pt x="5406" y="4337"/>
                </a:cubicBezTo>
                <a:cubicBezTo>
                  <a:pt x="5398" y="4331"/>
                  <a:pt x="5398" y="4331"/>
                  <a:pt x="5398" y="4331"/>
                </a:cubicBezTo>
                <a:cubicBezTo>
                  <a:pt x="5408" y="4328"/>
                  <a:pt x="5408" y="4328"/>
                  <a:pt x="5408" y="4328"/>
                </a:cubicBezTo>
                <a:cubicBezTo>
                  <a:pt x="5631" y="4266"/>
                  <a:pt x="5821" y="4131"/>
                  <a:pt x="5957" y="3935"/>
                </a:cubicBezTo>
                <a:close/>
                <a:moveTo>
                  <a:pt x="5746" y="3880"/>
                </a:moveTo>
                <a:cubicBezTo>
                  <a:pt x="5741" y="3886"/>
                  <a:pt x="5741" y="3886"/>
                  <a:pt x="5741" y="3886"/>
                </a:cubicBezTo>
                <a:cubicBezTo>
                  <a:pt x="5592" y="4060"/>
                  <a:pt x="5381" y="4159"/>
                  <a:pt x="5161" y="4159"/>
                </a:cubicBezTo>
                <a:cubicBezTo>
                  <a:pt x="4941" y="4159"/>
                  <a:pt x="4729" y="4060"/>
                  <a:pt x="4580" y="3886"/>
                </a:cubicBezTo>
                <a:cubicBezTo>
                  <a:pt x="4575" y="3880"/>
                  <a:pt x="4575" y="3880"/>
                  <a:pt x="4575" y="3880"/>
                </a:cubicBezTo>
                <a:cubicBezTo>
                  <a:pt x="4720" y="3844"/>
                  <a:pt x="4720" y="3844"/>
                  <a:pt x="4720" y="3844"/>
                </a:cubicBezTo>
                <a:cubicBezTo>
                  <a:pt x="4726" y="3842"/>
                  <a:pt x="4732" y="3840"/>
                  <a:pt x="4737" y="3838"/>
                </a:cubicBezTo>
                <a:cubicBezTo>
                  <a:pt x="4797" y="3811"/>
                  <a:pt x="4836" y="3741"/>
                  <a:pt x="4836" y="3661"/>
                </a:cubicBezTo>
                <a:cubicBezTo>
                  <a:pt x="4836" y="3457"/>
                  <a:pt x="4836" y="3457"/>
                  <a:pt x="4836" y="3457"/>
                </a:cubicBezTo>
                <a:cubicBezTo>
                  <a:pt x="4842" y="3459"/>
                  <a:pt x="4842" y="3459"/>
                  <a:pt x="4842" y="3459"/>
                </a:cubicBezTo>
                <a:cubicBezTo>
                  <a:pt x="5050" y="3518"/>
                  <a:pt x="5253" y="3518"/>
                  <a:pt x="5480" y="3460"/>
                </a:cubicBezTo>
                <a:cubicBezTo>
                  <a:pt x="5486" y="3458"/>
                  <a:pt x="5486" y="3458"/>
                  <a:pt x="5486" y="3458"/>
                </a:cubicBezTo>
                <a:cubicBezTo>
                  <a:pt x="5486" y="3661"/>
                  <a:pt x="5486" y="3661"/>
                  <a:pt x="5486" y="3661"/>
                </a:cubicBezTo>
                <a:cubicBezTo>
                  <a:pt x="5486" y="3741"/>
                  <a:pt x="5524" y="3811"/>
                  <a:pt x="5584" y="3838"/>
                </a:cubicBezTo>
                <a:cubicBezTo>
                  <a:pt x="5590" y="3840"/>
                  <a:pt x="5595" y="3842"/>
                  <a:pt x="5602" y="3844"/>
                </a:cubicBezTo>
                <a:lnTo>
                  <a:pt x="5746" y="3880"/>
                </a:lnTo>
                <a:close/>
                <a:moveTo>
                  <a:pt x="5161" y="3300"/>
                </a:moveTo>
                <a:cubicBezTo>
                  <a:pt x="4978" y="3300"/>
                  <a:pt x="4796" y="3250"/>
                  <a:pt x="4638" y="3147"/>
                </a:cubicBezTo>
                <a:cubicBezTo>
                  <a:pt x="4617" y="3133"/>
                  <a:pt x="4480" y="3018"/>
                  <a:pt x="4457" y="2996"/>
                </a:cubicBezTo>
                <a:cubicBezTo>
                  <a:pt x="4176" y="2684"/>
                  <a:pt x="4182" y="2389"/>
                  <a:pt x="4191" y="1982"/>
                </a:cubicBezTo>
                <a:cubicBezTo>
                  <a:pt x="4193" y="1901"/>
                  <a:pt x="4195" y="1817"/>
                  <a:pt x="4195" y="1726"/>
                </a:cubicBezTo>
                <a:cubicBezTo>
                  <a:pt x="4195" y="1723"/>
                  <a:pt x="4195" y="1723"/>
                  <a:pt x="4195" y="1723"/>
                </a:cubicBezTo>
                <a:cubicBezTo>
                  <a:pt x="4199" y="1722"/>
                  <a:pt x="4199" y="1722"/>
                  <a:pt x="4199" y="1722"/>
                </a:cubicBezTo>
                <a:cubicBezTo>
                  <a:pt x="4333" y="1693"/>
                  <a:pt x="4531" y="1618"/>
                  <a:pt x="4712" y="1429"/>
                </a:cubicBezTo>
                <a:cubicBezTo>
                  <a:pt x="4716" y="1425"/>
                  <a:pt x="4716" y="1425"/>
                  <a:pt x="4716" y="1425"/>
                </a:cubicBezTo>
                <a:cubicBezTo>
                  <a:pt x="4719" y="1429"/>
                  <a:pt x="4719" y="1429"/>
                  <a:pt x="4719" y="1429"/>
                </a:cubicBezTo>
                <a:cubicBezTo>
                  <a:pt x="4873" y="1615"/>
                  <a:pt x="5318" y="2051"/>
                  <a:pt x="6126" y="2086"/>
                </a:cubicBezTo>
                <a:cubicBezTo>
                  <a:pt x="6131" y="2086"/>
                  <a:pt x="6131" y="2086"/>
                  <a:pt x="6131" y="2086"/>
                </a:cubicBezTo>
                <a:cubicBezTo>
                  <a:pt x="6131" y="2090"/>
                  <a:pt x="6131" y="2090"/>
                  <a:pt x="6131" y="2090"/>
                </a:cubicBezTo>
                <a:cubicBezTo>
                  <a:pt x="6130" y="2213"/>
                  <a:pt x="6131" y="2273"/>
                  <a:pt x="6131" y="2305"/>
                </a:cubicBezTo>
                <a:cubicBezTo>
                  <a:pt x="6131" y="2346"/>
                  <a:pt x="6131" y="2346"/>
                  <a:pt x="6130" y="2374"/>
                </a:cubicBezTo>
                <a:cubicBezTo>
                  <a:pt x="6130" y="2378"/>
                  <a:pt x="6130" y="2378"/>
                  <a:pt x="6130" y="2378"/>
                </a:cubicBezTo>
                <a:cubicBezTo>
                  <a:pt x="6128" y="2383"/>
                  <a:pt x="6128" y="2392"/>
                  <a:pt x="6127" y="2406"/>
                </a:cubicBezTo>
                <a:cubicBezTo>
                  <a:pt x="6119" y="2504"/>
                  <a:pt x="6095" y="2805"/>
                  <a:pt x="5783" y="3077"/>
                </a:cubicBezTo>
                <a:cubicBezTo>
                  <a:pt x="5782" y="3078"/>
                  <a:pt x="5778" y="3081"/>
                  <a:pt x="5775" y="3084"/>
                </a:cubicBezTo>
                <a:cubicBezTo>
                  <a:pt x="5770" y="3087"/>
                  <a:pt x="5770" y="3087"/>
                  <a:pt x="5770" y="3087"/>
                </a:cubicBezTo>
                <a:cubicBezTo>
                  <a:pt x="5596" y="3229"/>
                  <a:pt x="5378" y="3300"/>
                  <a:pt x="5161" y="3300"/>
                </a:cubicBezTo>
                <a:close/>
                <a:moveTo>
                  <a:pt x="3861" y="1323"/>
                </a:moveTo>
                <a:cubicBezTo>
                  <a:pt x="3923" y="942"/>
                  <a:pt x="4089" y="712"/>
                  <a:pt x="4341" y="656"/>
                </a:cubicBezTo>
                <a:cubicBezTo>
                  <a:pt x="4341" y="656"/>
                  <a:pt x="4341" y="656"/>
                  <a:pt x="4341" y="656"/>
                </a:cubicBezTo>
                <a:cubicBezTo>
                  <a:pt x="4370" y="650"/>
                  <a:pt x="4395" y="631"/>
                  <a:pt x="4409" y="604"/>
                </a:cubicBezTo>
                <a:cubicBezTo>
                  <a:pt x="4420" y="584"/>
                  <a:pt x="4685" y="111"/>
                  <a:pt x="5518" y="274"/>
                </a:cubicBezTo>
                <a:cubicBezTo>
                  <a:pt x="5848" y="337"/>
                  <a:pt x="6357" y="737"/>
                  <a:pt x="6451" y="1326"/>
                </a:cubicBezTo>
                <a:cubicBezTo>
                  <a:pt x="6471" y="1423"/>
                  <a:pt x="6469" y="1601"/>
                  <a:pt x="6468" y="1732"/>
                </a:cubicBezTo>
                <a:cubicBezTo>
                  <a:pt x="6468" y="1758"/>
                  <a:pt x="6468" y="1783"/>
                  <a:pt x="6468" y="1803"/>
                </a:cubicBezTo>
                <a:cubicBezTo>
                  <a:pt x="6468" y="1903"/>
                  <a:pt x="6468" y="1903"/>
                  <a:pt x="6468" y="1903"/>
                </a:cubicBezTo>
                <a:cubicBezTo>
                  <a:pt x="6415" y="2793"/>
                  <a:pt x="6415" y="2793"/>
                  <a:pt x="6415" y="2793"/>
                </a:cubicBezTo>
                <a:cubicBezTo>
                  <a:pt x="6384" y="3322"/>
                  <a:pt x="6383" y="3343"/>
                  <a:pt x="6383" y="3345"/>
                </a:cubicBezTo>
                <a:cubicBezTo>
                  <a:pt x="6383" y="3383"/>
                  <a:pt x="6351" y="3414"/>
                  <a:pt x="6314" y="3414"/>
                </a:cubicBezTo>
                <a:cubicBezTo>
                  <a:pt x="5687" y="3414"/>
                  <a:pt x="5687" y="3414"/>
                  <a:pt x="5687" y="3414"/>
                </a:cubicBezTo>
                <a:cubicBezTo>
                  <a:pt x="5687" y="3380"/>
                  <a:pt x="5687" y="3380"/>
                  <a:pt x="5687" y="3380"/>
                </a:cubicBezTo>
                <a:cubicBezTo>
                  <a:pt x="5689" y="3378"/>
                  <a:pt x="5689" y="3378"/>
                  <a:pt x="5689" y="3378"/>
                </a:cubicBezTo>
                <a:cubicBezTo>
                  <a:pt x="5694" y="3375"/>
                  <a:pt x="5701" y="3371"/>
                  <a:pt x="5712" y="3365"/>
                </a:cubicBezTo>
                <a:cubicBezTo>
                  <a:pt x="5783" y="3326"/>
                  <a:pt x="5998" y="3208"/>
                  <a:pt x="6158" y="2949"/>
                </a:cubicBezTo>
                <a:cubicBezTo>
                  <a:pt x="6338" y="2658"/>
                  <a:pt x="6335" y="2409"/>
                  <a:pt x="6333" y="2167"/>
                </a:cubicBezTo>
                <a:cubicBezTo>
                  <a:pt x="6333" y="2138"/>
                  <a:pt x="6332" y="2108"/>
                  <a:pt x="6332" y="2079"/>
                </a:cubicBezTo>
                <a:cubicBezTo>
                  <a:pt x="6332" y="1974"/>
                  <a:pt x="6251" y="1889"/>
                  <a:pt x="6146" y="1884"/>
                </a:cubicBezTo>
                <a:cubicBezTo>
                  <a:pt x="5361" y="1855"/>
                  <a:pt x="4958" y="1409"/>
                  <a:pt x="4853" y="1273"/>
                </a:cubicBezTo>
                <a:cubicBezTo>
                  <a:pt x="4821" y="1233"/>
                  <a:pt x="4774" y="1209"/>
                  <a:pt x="4723" y="1207"/>
                </a:cubicBezTo>
                <a:cubicBezTo>
                  <a:pt x="4671" y="1205"/>
                  <a:pt x="4623" y="1226"/>
                  <a:pt x="4589" y="1264"/>
                </a:cubicBezTo>
                <a:cubicBezTo>
                  <a:pt x="4424" y="1451"/>
                  <a:pt x="4237" y="1509"/>
                  <a:pt x="4140" y="1528"/>
                </a:cubicBezTo>
                <a:cubicBezTo>
                  <a:pt x="4055" y="1544"/>
                  <a:pt x="3993" y="1619"/>
                  <a:pt x="3993" y="1705"/>
                </a:cubicBezTo>
                <a:cubicBezTo>
                  <a:pt x="3994" y="1971"/>
                  <a:pt x="3993" y="2125"/>
                  <a:pt x="3993" y="2217"/>
                </a:cubicBezTo>
                <a:cubicBezTo>
                  <a:pt x="3993" y="2351"/>
                  <a:pt x="3993" y="2351"/>
                  <a:pt x="3994" y="2378"/>
                </a:cubicBezTo>
                <a:cubicBezTo>
                  <a:pt x="3994" y="2380"/>
                  <a:pt x="3994" y="2380"/>
                  <a:pt x="3994" y="2380"/>
                </a:cubicBezTo>
                <a:cubicBezTo>
                  <a:pt x="3997" y="2780"/>
                  <a:pt x="4265" y="3199"/>
                  <a:pt x="4632" y="3376"/>
                </a:cubicBezTo>
                <a:cubicBezTo>
                  <a:pt x="4634" y="3377"/>
                  <a:pt x="4634" y="3377"/>
                  <a:pt x="4634" y="3377"/>
                </a:cubicBezTo>
                <a:cubicBezTo>
                  <a:pt x="4634" y="3414"/>
                  <a:pt x="4634" y="3414"/>
                  <a:pt x="4634" y="3414"/>
                </a:cubicBezTo>
                <a:cubicBezTo>
                  <a:pt x="3999" y="3414"/>
                  <a:pt x="3999" y="3414"/>
                  <a:pt x="3999" y="3414"/>
                </a:cubicBezTo>
                <a:cubicBezTo>
                  <a:pt x="3961" y="3414"/>
                  <a:pt x="3930" y="3383"/>
                  <a:pt x="3930" y="3346"/>
                </a:cubicBezTo>
                <a:cubicBezTo>
                  <a:pt x="3930" y="3344"/>
                  <a:pt x="3929" y="3334"/>
                  <a:pt x="3920" y="3179"/>
                </a:cubicBezTo>
                <a:cubicBezTo>
                  <a:pt x="3910" y="3005"/>
                  <a:pt x="3889" y="2645"/>
                  <a:pt x="3845" y="1901"/>
                </a:cubicBezTo>
                <a:cubicBezTo>
                  <a:pt x="3844" y="1895"/>
                  <a:pt x="3844" y="1895"/>
                  <a:pt x="3844" y="1895"/>
                </a:cubicBezTo>
                <a:cubicBezTo>
                  <a:pt x="3844" y="1892"/>
                  <a:pt x="3814" y="1614"/>
                  <a:pt x="3861" y="1323"/>
                </a:cubicBezTo>
                <a:close/>
                <a:moveTo>
                  <a:pt x="2822" y="4493"/>
                </a:moveTo>
                <a:cubicBezTo>
                  <a:pt x="2822" y="4447"/>
                  <a:pt x="2822" y="4429"/>
                  <a:pt x="2823" y="4422"/>
                </a:cubicBezTo>
                <a:cubicBezTo>
                  <a:pt x="2822" y="4422"/>
                  <a:pt x="2822" y="4422"/>
                  <a:pt x="2822" y="4422"/>
                </a:cubicBezTo>
                <a:cubicBezTo>
                  <a:pt x="2835" y="4121"/>
                  <a:pt x="3017" y="3860"/>
                  <a:pt x="3297" y="3741"/>
                </a:cubicBezTo>
                <a:cubicBezTo>
                  <a:pt x="3576" y="3622"/>
                  <a:pt x="3890" y="3673"/>
                  <a:pt x="4116" y="3873"/>
                </a:cubicBezTo>
                <a:cubicBezTo>
                  <a:pt x="4117" y="3873"/>
                  <a:pt x="4118" y="3874"/>
                  <a:pt x="4118" y="3874"/>
                </a:cubicBezTo>
                <a:cubicBezTo>
                  <a:pt x="4247" y="3989"/>
                  <a:pt x="4330" y="4135"/>
                  <a:pt x="4365" y="4309"/>
                </a:cubicBezTo>
                <a:cubicBezTo>
                  <a:pt x="4380" y="4386"/>
                  <a:pt x="4379" y="4451"/>
                  <a:pt x="4379" y="4479"/>
                </a:cubicBezTo>
                <a:cubicBezTo>
                  <a:pt x="4379" y="4486"/>
                  <a:pt x="4379" y="4490"/>
                  <a:pt x="4379" y="4493"/>
                </a:cubicBezTo>
                <a:cubicBezTo>
                  <a:pt x="4380" y="4507"/>
                  <a:pt x="4380" y="4507"/>
                  <a:pt x="4380" y="4507"/>
                </a:cubicBezTo>
                <a:cubicBezTo>
                  <a:pt x="4371" y="4496"/>
                  <a:pt x="4371" y="4496"/>
                  <a:pt x="4371" y="4496"/>
                </a:cubicBezTo>
                <a:cubicBezTo>
                  <a:pt x="4340" y="4458"/>
                  <a:pt x="4305" y="4448"/>
                  <a:pt x="4286" y="4442"/>
                </a:cubicBezTo>
                <a:cubicBezTo>
                  <a:pt x="4283" y="4442"/>
                  <a:pt x="4281" y="4441"/>
                  <a:pt x="4279" y="4440"/>
                </a:cubicBezTo>
                <a:cubicBezTo>
                  <a:pt x="4232" y="4425"/>
                  <a:pt x="4141" y="4378"/>
                  <a:pt x="4064" y="4231"/>
                </a:cubicBezTo>
                <a:cubicBezTo>
                  <a:pt x="4038" y="4180"/>
                  <a:pt x="3989" y="4150"/>
                  <a:pt x="3932" y="4150"/>
                </a:cubicBezTo>
                <a:cubicBezTo>
                  <a:pt x="3931" y="4150"/>
                  <a:pt x="3930" y="4150"/>
                  <a:pt x="3929" y="4150"/>
                </a:cubicBezTo>
                <a:cubicBezTo>
                  <a:pt x="3872" y="4151"/>
                  <a:pt x="3821" y="4184"/>
                  <a:pt x="3796" y="4236"/>
                </a:cubicBezTo>
                <a:cubicBezTo>
                  <a:pt x="3734" y="4367"/>
                  <a:pt x="3450" y="4595"/>
                  <a:pt x="2969" y="4464"/>
                </a:cubicBezTo>
                <a:cubicBezTo>
                  <a:pt x="2924" y="4451"/>
                  <a:pt x="2875" y="4463"/>
                  <a:pt x="2840" y="4495"/>
                </a:cubicBezTo>
                <a:cubicBezTo>
                  <a:pt x="2839" y="4496"/>
                  <a:pt x="2839" y="4496"/>
                  <a:pt x="2839" y="4496"/>
                </a:cubicBezTo>
                <a:cubicBezTo>
                  <a:pt x="2837" y="4496"/>
                  <a:pt x="2837" y="4496"/>
                  <a:pt x="2837" y="4496"/>
                </a:cubicBezTo>
                <a:cubicBezTo>
                  <a:pt x="2835" y="4497"/>
                  <a:pt x="2832" y="4497"/>
                  <a:pt x="2829" y="4498"/>
                </a:cubicBezTo>
                <a:cubicBezTo>
                  <a:pt x="2822" y="4499"/>
                  <a:pt x="2822" y="4499"/>
                  <a:pt x="2822" y="4499"/>
                </a:cubicBezTo>
                <a:lnTo>
                  <a:pt x="2822" y="4493"/>
                </a:lnTo>
                <a:close/>
                <a:moveTo>
                  <a:pt x="2788" y="4722"/>
                </a:moveTo>
                <a:cubicBezTo>
                  <a:pt x="2795" y="4718"/>
                  <a:pt x="2795" y="4718"/>
                  <a:pt x="2795" y="4718"/>
                </a:cubicBezTo>
                <a:cubicBezTo>
                  <a:pt x="2795" y="4939"/>
                  <a:pt x="2795" y="4939"/>
                  <a:pt x="2795" y="4939"/>
                </a:cubicBezTo>
                <a:cubicBezTo>
                  <a:pt x="2788" y="4935"/>
                  <a:pt x="2788" y="4935"/>
                  <a:pt x="2788" y="4935"/>
                </a:cubicBezTo>
                <a:cubicBezTo>
                  <a:pt x="2743" y="4909"/>
                  <a:pt x="2716" y="4870"/>
                  <a:pt x="2716" y="4829"/>
                </a:cubicBezTo>
                <a:cubicBezTo>
                  <a:pt x="2717" y="4787"/>
                  <a:pt x="2743" y="4747"/>
                  <a:pt x="2788" y="4722"/>
                </a:cubicBezTo>
                <a:close/>
                <a:moveTo>
                  <a:pt x="2639" y="3854"/>
                </a:moveTo>
                <a:cubicBezTo>
                  <a:pt x="2635" y="3859"/>
                  <a:pt x="2635" y="3859"/>
                  <a:pt x="2635" y="3859"/>
                </a:cubicBezTo>
                <a:cubicBezTo>
                  <a:pt x="2346" y="4229"/>
                  <a:pt x="2346" y="4229"/>
                  <a:pt x="2346" y="4229"/>
                </a:cubicBezTo>
                <a:cubicBezTo>
                  <a:pt x="2185" y="4067"/>
                  <a:pt x="2185" y="4067"/>
                  <a:pt x="2185" y="4067"/>
                </a:cubicBezTo>
                <a:cubicBezTo>
                  <a:pt x="2488" y="3782"/>
                  <a:pt x="2488" y="3782"/>
                  <a:pt x="2488" y="3782"/>
                </a:cubicBezTo>
                <a:lnTo>
                  <a:pt x="2639" y="3854"/>
                </a:lnTo>
                <a:close/>
                <a:moveTo>
                  <a:pt x="2041" y="3926"/>
                </a:moveTo>
                <a:cubicBezTo>
                  <a:pt x="2037" y="3923"/>
                  <a:pt x="2037" y="3923"/>
                  <a:pt x="2037" y="3923"/>
                </a:cubicBezTo>
                <a:cubicBezTo>
                  <a:pt x="1718" y="3622"/>
                  <a:pt x="1718" y="3622"/>
                  <a:pt x="1718" y="3622"/>
                </a:cubicBezTo>
                <a:cubicBezTo>
                  <a:pt x="1718" y="3458"/>
                  <a:pt x="1718" y="3458"/>
                  <a:pt x="1718" y="3458"/>
                </a:cubicBezTo>
                <a:cubicBezTo>
                  <a:pt x="1725" y="3460"/>
                  <a:pt x="1725" y="3460"/>
                  <a:pt x="1725" y="3460"/>
                </a:cubicBezTo>
                <a:cubicBezTo>
                  <a:pt x="1931" y="3518"/>
                  <a:pt x="2151" y="3518"/>
                  <a:pt x="2360" y="3459"/>
                </a:cubicBezTo>
                <a:cubicBezTo>
                  <a:pt x="2366" y="3458"/>
                  <a:pt x="2366" y="3458"/>
                  <a:pt x="2366" y="3458"/>
                </a:cubicBezTo>
                <a:cubicBezTo>
                  <a:pt x="2366" y="3620"/>
                  <a:pt x="2366" y="3620"/>
                  <a:pt x="2366" y="3620"/>
                </a:cubicBezTo>
                <a:cubicBezTo>
                  <a:pt x="2364" y="3621"/>
                  <a:pt x="2364" y="3621"/>
                  <a:pt x="2364" y="3621"/>
                </a:cubicBezTo>
                <a:lnTo>
                  <a:pt x="2041" y="3926"/>
                </a:lnTo>
                <a:close/>
                <a:moveTo>
                  <a:pt x="3341" y="1960"/>
                </a:moveTo>
                <a:cubicBezTo>
                  <a:pt x="3341" y="2026"/>
                  <a:pt x="3295" y="2085"/>
                  <a:pt x="3217" y="2117"/>
                </a:cubicBezTo>
                <a:cubicBezTo>
                  <a:pt x="3210" y="2120"/>
                  <a:pt x="3210" y="2120"/>
                  <a:pt x="3210" y="2120"/>
                </a:cubicBezTo>
                <a:cubicBezTo>
                  <a:pt x="3210" y="1801"/>
                  <a:pt x="3210" y="1801"/>
                  <a:pt x="3210" y="1801"/>
                </a:cubicBezTo>
                <a:cubicBezTo>
                  <a:pt x="3217" y="1804"/>
                  <a:pt x="3217" y="1804"/>
                  <a:pt x="3217" y="1804"/>
                </a:cubicBezTo>
                <a:cubicBezTo>
                  <a:pt x="3294" y="1836"/>
                  <a:pt x="3341" y="1894"/>
                  <a:pt x="3341" y="1960"/>
                </a:cubicBezTo>
                <a:close/>
                <a:moveTo>
                  <a:pt x="871" y="2120"/>
                </a:moveTo>
                <a:cubicBezTo>
                  <a:pt x="865" y="2117"/>
                  <a:pt x="865" y="2117"/>
                  <a:pt x="865" y="2117"/>
                </a:cubicBezTo>
                <a:cubicBezTo>
                  <a:pt x="787" y="2085"/>
                  <a:pt x="741" y="2026"/>
                  <a:pt x="741" y="1960"/>
                </a:cubicBezTo>
                <a:cubicBezTo>
                  <a:pt x="741" y="1894"/>
                  <a:pt x="787" y="1836"/>
                  <a:pt x="865" y="1804"/>
                </a:cubicBezTo>
                <a:cubicBezTo>
                  <a:pt x="871" y="1801"/>
                  <a:pt x="871" y="1801"/>
                  <a:pt x="871" y="1801"/>
                </a:cubicBezTo>
                <a:lnTo>
                  <a:pt x="871" y="2120"/>
                </a:lnTo>
                <a:close/>
                <a:moveTo>
                  <a:pt x="969" y="1574"/>
                </a:moveTo>
                <a:cubicBezTo>
                  <a:pt x="966" y="1577"/>
                  <a:pt x="962" y="1579"/>
                  <a:pt x="961" y="1580"/>
                </a:cubicBezTo>
                <a:cubicBezTo>
                  <a:pt x="960" y="1581"/>
                  <a:pt x="960" y="1581"/>
                  <a:pt x="960" y="1581"/>
                </a:cubicBezTo>
                <a:cubicBezTo>
                  <a:pt x="958" y="1581"/>
                  <a:pt x="958" y="1581"/>
                  <a:pt x="958" y="1581"/>
                </a:cubicBezTo>
                <a:cubicBezTo>
                  <a:pt x="909" y="1583"/>
                  <a:pt x="860" y="1591"/>
                  <a:pt x="813" y="1607"/>
                </a:cubicBezTo>
                <a:cubicBezTo>
                  <a:pt x="807" y="1610"/>
                  <a:pt x="807" y="1610"/>
                  <a:pt x="807" y="1610"/>
                </a:cubicBezTo>
                <a:cubicBezTo>
                  <a:pt x="807" y="1603"/>
                  <a:pt x="807" y="1603"/>
                  <a:pt x="807" y="1603"/>
                </a:cubicBezTo>
                <a:cubicBezTo>
                  <a:pt x="807" y="1580"/>
                  <a:pt x="807" y="1558"/>
                  <a:pt x="807" y="1535"/>
                </a:cubicBezTo>
                <a:cubicBezTo>
                  <a:pt x="806" y="1450"/>
                  <a:pt x="806" y="1361"/>
                  <a:pt x="829" y="1241"/>
                </a:cubicBezTo>
                <a:cubicBezTo>
                  <a:pt x="830" y="1237"/>
                  <a:pt x="832" y="1228"/>
                  <a:pt x="835" y="1216"/>
                </a:cubicBezTo>
                <a:cubicBezTo>
                  <a:pt x="896" y="949"/>
                  <a:pt x="1026" y="725"/>
                  <a:pt x="1221" y="551"/>
                </a:cubicBezTo>
                <a:cubicBezTo>
                  <a:pt x="1229" y="545"/>
                  <a:pt x="1238" y="538"/>
                  <a:pt x="1248" y="529"/>
                </a:cubicBezTo>
                <a:cubicBezTo>
                  <a:pt x="1294" y="490"/>
                  <a:pt x="1372" y="424"/>
                  <a:pt x="1529" y="351"/>
                </a:cubicBezTo>
                <a:cubicBezTo>
                  <a:pt x="1972" y="148"/>
                  <a:pt x="2470" y="223"/>
                  <a:pt x="2860" y="551"/>
                </a:cubicBezTo>
                <a:cubicBezTo>
                  <a:pt x="3112" y="775"/>
                  <a:pt x="3192" y="1026"/>
                  <a:pt x="3222" y="1120"/>
                </a:cubicBezTo>
                <a:cubicBezTo>
                  <a:pt x="3226" y="1133"/>
                  <a:pt x="3229" y="1143"/>
                  <a:pt x="3232" y="1150"/>
                </a:cubicBezTo>
                <a:cubicBezTo>
                  <a:pt x="3277" y="1318"/>
                  <a:pt x="3276" y="1449"/>
                  <a:pt x="3274" y="1536"/>
                </a:cubicBezTo>
                <a:cubicBezTo>
                  <a:pt x="3274" y="1562"/>
                  <a:pt x="3274" y="1584"/>
                  <a:pt x="3275" y="1603"/>
                </a:cubicBezTo>
                <a:cubicBezTo>
                  <a:pt x="3275" y="1610"/>
                  <a:pt x="3275" y="1610"/>
                  <a:pt x="3275" y="1610"/>
                </a:cubicBezTo>
                <a:cubicBezTo>
                  <a:pt x="3268" y="1607"/>
                  <a:pt x="3268" y="1607"/>
                  <a:pt x="3268" y="1607"/>
                </a:cubicBezTo>
                <a:cubicBezTo>
                  <a:pt x="3222" y="1591"/>
                  <a:pt x="3173" y="1583"/>
                  <a:pt x="3124" y="1581"/>
                </a:cubicBezTo>
                <a:cubicBezTo>
                  <a:pt x="3121" y="1581"/>
                  <a:pt x="3121" y="1581"/>
                  <a:pt x="3121" y="1581"/>
                </a:cubicBezTo>
                <a:cubicBezTo>
                  <a:pt x="3096" y="1566"/>
                  <a:pt x="3070" y="1545"/>
                  <a:pt x="3049" y="1522"/>
                </a:cubicBezTo>
                <a:cubicBezTo>
                  <a:pt x="2978" y="1440"/>
                  <a:pt x="2971" y="1368"/>
                  <a:pt x="2964" y="1299"/>
                </a:cubicBezTo>
                <a:cubicBezTo>
                  <a:pt x="2957" y="1230"/>
                  <a:pt x="2951" y="1164"/>
                  <a:pt x="2873" y="1099"/>
                </a:cubicBezTo>
                <a:cubicBezTo>
                  <a:pt x="2783" y="1024"/>
                  <a:pt x="2696" y="1036"/>
                  <a:pt x="2553" y="1058"/>
                </a:cubicBezTo>
                <a:cubicBezTo>
                  <a:pt x="2527" y="1061"/>
                  <a:pt x="2500" y="1065"/>
                  <a:pt x="2471" y="1069"/>
                </a:cubicBezTo>
                <a:cubicBezTo>
                  <a:pt x="2001" y="1120"/>
                  <a:pt x="1728" y="1084"/>
                  <a:pt x="1547" y="1059"/>
                </a:cubicBezTo>
                <a:cubicBezTo>
                  <a:pt x="1380" y="1037"/>
                  <a:pt x="1296" y="1026"/>
                  <a:pt x="1208" y="1099"/>
                </a:cubicBezTo>
                <a:cubicBezTo>
                  <a:pt x="1151" y="1147"/>
                  <a:pt x="1120" y="1213"/>
                  <a:pt x="1118" y="1291"/>
                </a:cubicBezTo>
                <a:cubicBezTo>
                  <a:pt x="1110" y="1489"/>
                  <a:pt x="1004" y="1553"/>
                  <a:pt x="969" y="1574"/>
                </a:cubicBezTo>
                <a:close/>
                <a:moveTo>
                  <a:pt x="1073" y="2334"/>
                </a:moveTo>
                <a:cubicBezTo>
                  <a:pt x="1073" y="1748"/>
                  <a:pt x="1073" y="1748"/>
                  <a:pt x="1073" y="1748"/>
                </a:cubicBezTo>
                <a:cubicBezTo>
                  <a:pt x="1075" y="1747"/>
                  <a:pt x="1075" y="1747"/>
                  <a:pt x="1075" y="1747"/>
                </a:cubicBezTo>
                <a:cubicBezTo>
                  <a:pt x="1156" y="1688"/>
                  <a:pt x="1214" y="1642"/>
                  <a:pt x="1265" y="1533"/>
                </a:cubicBezTo>
                <a:cubicBezTo>
                  <a:pt x="1298" y="1462"/>
                  <a:pt x="1317" y="1380"/>
                  <a:pt x="1319" y="1291"/>
                </a:cubicBezTo>
                <a:cubicBezTo>
                  <a:pt x="1320" y="1276"/>
                  <a:pt x="1327" y="1263"/>
                  <a:pt x="1338" y="1254"/>
                </a:cubicBezTo>
                <a:cubicBezTo>
                  <a:pt x="1349" y="1244"/>
                  <a:pt x="1365" y="1240"/>
                  <a:pt x="1380" y="1242"/>
                </a:cubicBezTo>
                <a:cubicBezTo>
                  <a:pt x="2048" y="1331"/>
                  <a:pt x="2415" y="1280"/>
                  <a:pt x="2591" y="1255"/>
                </a:cubicBezTo>
                <a:cubicBezTo>
                  <a:pt x="2682" y="1243"/>
                  <a:pt x="2727" y="1236"/>
                  <a:pt x="2748" y="1255"/>
                </a:cubicBezTo>
                <a:cubicBezTo>
                  <a:pt x="2757" y="1262"/>
                  <a:pt x="2762" y="1274"/>
                  <a:pt x="2762" y="1291"/>
                </a:cubicBezTo>
                <a:cubicBezTo>
                  <a:pt x="2768" y="1495"/>
                  <a:pt x="2867" y="1621"/>
                  <a:pt x="2898" y="1655"/>
                </a:cubicBezTo>
                <a:cubicBezTo>
                  <a:pt x="2899" y="1657"/>
                  <a:pt x="2900" y="1658"/>
                  <a:pt x="2900" y="1658"/>
                </a:cubicBezTo>
                <a:cubicBezTo>
                  <a:pt x="2933" y="1694"/>
                  <a:pt x="2956" y="1711"/>
                  <a:pt x="2991" y="1735"/>
                </a:cubicBezTo>
                <a:cubicBezTo>
                  <a:pt x="3009" y="1748"/>
                  <a:pt x="3009" y="1748"/>
                  <a:pt x="3009" y="1748"/>
                </a:cubicBezTo>
                <a:cubicBezTo>
                  <a:pt x="3009" y="1898"/>
                  <a:pt x="3009" y="1898"/>
                  <a:pt x="3009" y="1898"/>
                </a:cubicBezTo>
                <a:cubicBezTo>
                  <a:pt x="3009" y="2046"/>
                  <a:pt x="3008" y="2231"/>
                  <a:pt x="3009" y="2239"/>
                </a:cubicBezTo>
                <a:cubicBezTo>
                  <a:pt x="3008" y="2243"/>
                  <a:pt x="3008" y="2253"/>
                  <a:pt x="3008" y="2265"/>
                </a:cubicBezTo>
                <a:cubicBezTo>
                  <a:pt x="3020" y="2794"/>
                  <a:pt x="2730" y="3062"/>
                  <a:pt x="2485" y="3194"/>
                </a:cubicBezTo>
                <a:cubicBezTo>
                  <a:pt x="2481" y="3191"/>
                  <a:pt x="2481" y="3191"/>
                  <a:pt x="2481" y="3191"/>
                </a:cubicBezTo>
                <a:cubicBezTo>
                  <a:pt x="2481" y="3191"/>
                  <a:pt x="2481" y="3191"/>
                  <a:pt x="2481" y="3191"/>
                </a:cubicBezTo>
                <a:cubicBezTo>
                  <a:pt x="2483" y="3195"/>
                  <a:pt x="2483" y="3195"/>
                  <a:pt x="2483" y="3195"/>
                </a:cubicBezTo>
                <a:cubicBezTo>
                  <a:pt x="2456" y="3210"/>
                  <a:pt x="2308" y="3285"/>
                  <a:pt x="2105" y="3299"/>
                </a:cubicBezTo>
                <a:cubicBezTo>
                  <a:pt x="2104" y="3299"/>
                  <a:pt x="2060" y="3302"/>
                  <a:pt x="2027" y="3302"/>
                </a:cubicBezTo>
                <a:cubicBezTo>
                  <a:pt x="2013" y="3302"/>
                  <a:pt x="2001" y="3301"/>
                  <a:pt x="1995" y="3300"/>
                </a:cubicBezTo>
                <a:cubicBezTo>
                  <a:pt x="1995" y="3301"/>
                  <a:pt x="1995" y="3301"/>
                  <a:pt x="1995" y="3301"/>
                </a:cubicBezTo>
                <a:cubicBezTo>
                  <a:pt x="1995" y="3300"/>
                  <a:pt x="1995" y="3300"/>
                  <a:pt x="1995" y="3300"/>
                </a:cubicBezTo>
                <a:cubicBezTo>
                  <a:pt x="1995" y="3300"/>
                  <a:pt x="1995" y="3300"/>
                  <a:pt x="1995" y="3300"/>
                </a:cubicBezTo>
                <a:cubicBezTo>
                  <a:pt x="1995" y="3301"/>
                  <a:pt x="1995" y="3301"/>
                  <a:pt x="1995" y="3301"/>
                </a:cubicBezTo>
                <a:cubicBezTo>
                  <a:pt x="1478" y="3277"/>
                  <a:pt x="1073" y="2852"/>
                  <a:pt x="1073" y="2334"/>
                </a:cubicBezTo>
                <a:close/>
                <a:moveTo>
                  <a:pt x="1595" y="3783"/>
                </a:moveTo>
                <a:cubicBezTo>
                  <a:pt x="1598" y="3786"/>
                  <a:pt x="1598" y="3786"/>
                  <a:pt x="1598" y="3786"/>
                </a:cubicBezTo>
                <a:cubicBezTo>
                  <a:pt x="1896" y="4067"/>
                  <a:pt x="1896" y="4067"/>
                  <a:pt x="1896" y="4067"/>
                </a:cubicBezTo>
                <a:cubicBezTo>
                  <a:pt x="1735" y="4229"/>
                  <a:pt x="1735" y="4229"/>
                  <a:pt x="1735" y="4229"/>
                </a:cubicBezTo>
                <a:cubicBezTo>
                  <a:pt x="1732" y="4225"/>
                  <a:pt x="1732" y="4225"/>
                  <a:pt x="1732" y="4225"/>
                </a:cubicBezTo>
                <a:cubicBezTo>
                  <a:pt x="1444" y="3856"/>
                  <a:pt x="1444" y="3856"/>
                  <a:pt x="1444" y="3856"/>
                </a:cubicBezTo>
                <a:lnTo>
                  <a:pt x="1595" y="3783"/>
                </a:lnTo>
                <a:close/>
                <a:moveTo>
                  <a:pt x="350" y="5384"/>
                </a:moveTo>
                <a:cubicBezTo>
                  <a:pt x="382" y="5134"/>
                  <a:pt x="400" y="4948"/>
                  <a:pt x="415" y="4800"/>
                </a:cubicBezTo>
                <a:cubicBezTo>
                  <a:pt x="451" y="4447"/>
                  <a:pt x="462" y="4341"/>
                  <a:pt x="566" y="4217"/>
                </a:cubicBezTo>
                <a:cubicBezTo>
                  <a:pt x="567" y="4216"/>
                  <a:pt x="567" y="4216"/>
                  <a:pt x="567" y="4216"/>
                </a:cubicBezTo>
                <a:cubicBezTo>
                  <a:pt x="700" y="4059"/>
                  <a:pt x="888" y="4017"/>
                  <a:pt x="1070" y="3976"/>
                </a:cubicBezTo>
                <a:cubicBezTo>
                  <a:pt x="1131" y="3963"/>
                  <a:pt x="1189" y="3950"/>
                  <a:pt x="1244" y="3933"/>
                </a:cubicBezTo>
                <a:cubicBezTo>
                  <a:pt x="1247" y="3932"/>
                  <a:pt x="1247" y="3932"/>
                  <a:pt x="1247" y="3932"/>
                </a:cubicBezTo>
                <a:cubicBezTo>
                  <a:pt x="1250" y="3934"/>
                  <a:pt x="1250" y="3934"/>
                  <a:pt x="1250" y="3934"/>
                </a:cubicBezTo>
                <a:cubicBezTo>
                  <a:pt x="1574" y="4350"/>
                  <a:pt x="1574" y="4350"/>
                  <a:pt x="1574" y="4350"/>
                </a:cubicBezTo>
                <a:cubicBezTo>
                  <a:pt x="1610" y="4397"/>
                  <a:pt x="1665" y="4425"/>
                  <a:pt x="1724" y="4429"/>
                </a:cubicBezTo>
                <a:cubicBezTo>
                  <a:pt x="1782" y="4432"/>
                  <a:pt x="1840" y="4410"/>
                  <a:pt x="1881" y="4368"/>
                </a:cubicBezTo>
                <a:cubicBezTo>
                  <a:pt x="1940" y="4309"/>
                  <a:pt x="1940" y="4309"/>
                  <a:pt x="1940" y="4309"/>
                </a:cubicBezTo>
                <a:cubicBezTo>
                  <a:pt x="1940" y="4832"/>
                  <a:pt x="1940" y="4832"/>
                  <a:pt x="1940" y="4832"/>
                </a:cubicBezTo>
                <a:cubicBezTo>
                  <a:pt x="1940" y="4887"/>
                  <a:pt x="1985" y="4933"/>
                  <a:pt x="2041" y="4933"/>
                </a:cubicBezTo>
                <a:cubicBezTo>
                  <a:pt x="2096" y="4933"/>
                  <a:pt x="2142" y="4887"/>
                  <a:pt x="2142" y="4832"/>
                </a:cubicBezTo>
                <a:cubicBezTo>
                  <a:pt x="2142" y="4309"/>
                  <a:pt x="2142" y="4309"/>
                  <a:pt x="2142" y="4309"/>
                </a:cubicBezTo>
                <a:cubicBezTo>
                  <a:pt x="2200" y="4368"/>
                  <a:pt x="2200" y="4368"/>
                  <a:pt x="2200" y="4368"/>
                </a:cubicBezTo>
                <a:cubicBezTo>
                  <a:pt x="2239" y="4407"/>
                  <a:pt x="2292" y="4429"/>
                  <a:pt x="2346" y="4429"/>
                </a:cubicBezTo>
                <a:cubicBezTo>
                  <a:pt x="2350" y="4428"/>
                  <a:pt x="2354" y="4429"/>
                  <a:pt x="2358" y="4429"/>
                </a:cubicBezTo>
                <a:cubicBezTo>
                  <a:pt x="2417" y="4425"/>
                  <a:pt x="2471" y="4396"/>
                  <a:pt x="2507" y="4350"/>
                </a:cubicBezTo>
                <a:cubicBezTo>
                  <a:pt x="2672" y="4139"/>
                  <a:pt x="2672" y="4139"/>
                  <a:pt x="2672" y="4139"/>
                </a:cubicBezTo>
                <a:cubicBezTo>
                  <a:pt x="2664" y="4164"/>
                  <a:pt x="2664" y="4164"/>
                  <a:pt x="2664" y="4164"/>
                </a:cubicBezTo>
                <a:cubicBezTo>
                  <a:pt x="2617" y="4316"/>
                  <a:pt x="2619" y="4437"/>
                  <a:pt x="2620" y="4526"/>
                </a:cubicBezTo>
                <a:cubicBezTo>
                  <a:pt x="2621" y="4552"/>
                  <a:pt x="2621" y="4575"/>
                  <a:pt x="2620" y="4595"/>
                </a:cubicBezTo>
                <a:cubicBezTo>
                  <a:pt x="2620" y="4597"/>
                  <a:pt x="2620" y="4597"/>
                  <a:pt x="2620" y="4597"/>
                </a:cubicBezTo>
                <a:cubicBezTo>
                  <a:pt x="2618" y="4598"/>
                  <a:pt x="2618" y="4598"/>
                  <a:pt x="2618" y="4598"/>
                </a:cubicBezTo>
                <a:cubicBezTo>
                  <a:pt x="2528" y="4682"/>
                  <a:pt x="2494" y="4795"/>
                  <a:pt x="2525" y="4907"/>
                </a:cubicBezTo>
                <a:cubicBezTo>
                  <a:pt x="2558" y="5029"/>
                  <a:pt x="2665" y="5123"/>
                  <a:pt x="2803" y="5154"/>
                </a:cubicBezTo>
                <a:cubicBezTo>
                  <a:pt x="2806" y="5155"/>
                  <a:pt x="2806" y="5155"/>
                  <a:pt x="2806" y="5155"/>
                </a:cubicBezTo>
                <a:cubicBezTo>
                  <a:pt x="2807" y="5158"/>
                  <a:pt x="2807" y="5158"/>
                  <a:pt x="2807" y="5158"/>
                </a:cubicBezTo>
                <a:cubicBezTo>
                  <a:pt x="2848" y="5402"/>
                  <a:pt x="2998" y="5611"/>
                  <a:pt x="3218" y="5732"/>
                </a:cubicBezTo>
                <a:cubicBezTo>
                  <a:pt x="3221" y="5733"/>
                  <a:pt x="3221" y="5733"/>
                  <a:pt x="3221" y="5733"/>
                </a:cubicBezTo>
                <a:cubicBezTo>
                  <a:pt x="3221" y="5868"/>
                  <a:pt x="3221" y="5868"/>
                  <a:pt x="3221" y="5868"/>
                </a:cubicBezTo>
                <a:cubicBezTo>
                  <a:pt x="3217" y="5869"/>
                  <a:pt x="3217" y="5869"/>
                  <a:pt x="3217" y="5869"/>
                </a:cubicBezTo>
                <a:cubicBezTo>
                  <a:pt x="3149" y="5887"/>
                  <a:pt x="3084" y="5902"/>
                  <a:pt x="3021" y="5917"/>
                </a:cubicBezTo>
                <a:cubicBezTo>
                  <a:pt x="2746" y="5981"/>
                  <a:pt x="2529" y="6031"/>
                  <a:pt x="2422" y="6287"/>
                </a:cubicBezTo>
                <a:cubicBezTo>
                  <a:pt x="2417" y="6300"/>
                  <a:pt x="2413" y="6311"/>
                  <a:pt x="2409" y="6324"/>
                </a:cubicBezTo>
                <a:cubicBezTo>
                  <a:pt x="2409" y="6324"/>
                  <a:pt x="2409" y="6324"/>
                  <a:pt x="2409" y="6324"/>
                </a:cubicBezTo>
                <a:cubicBezTo>
                  <a:pt x="2403" y="6343"/>
                  <a:pt x="2398" y="6363"/>
                  <a:pt x="2395" y="6374"/>
                </a:cubicBezTo>
                <a:cubicBezTo>
                  <a:pt x="2386" y="6422"/>
                  <a:pt x="2382" y="6459"/>
                  <a:pt x="2366" y="6597"/>
                </a:cubicBezTo>
                <a:cubicBezTo>
                  <a:pt x="2356" y="6687"/>
                  <a:pt x="2341" y="6823"/>
                  <a:pt x="2317" y="7033"/>
                </a:cubicBezTo>
                <a:cubicBezTo>
                  <a:pt x="2316" y="7037"/>
                  <a:pt x="2316" y="7037"/>
                  <a:pt x="2316" y="7037"/>
                </a:cubicBezTo>
                <a:cubicBezTo>
                  <a:pt x="1015" y="7037"/>
                  <a:pt x="1015" y="7037"/>
                  <a:pt x="1015" y="7037"/>
                </a:cubicBezTo>
                <a:cubicBezTo>
                  <a:pt x="1015" y="7032"/>
                  <a:pt x="1015" y="7032"/>
                  <a:pt x="1015" y="7032"/>
                </a:cubicBezTo>
                <a:cubicBezTo>
                  <a:pt x="1120" y="5051"/>
                  <a:pt x="1120" y="5051"/>
                  <a:pt x="1120" y="5051"/>
                </a:cubicBezTo>
                <a:cubicBezTo>
                  <a:pt x="1121" y="5024"/>
                  <a:pt x="1112" y="4998"/>
                  <a:pt x="1094" y="4978"/>
                </a:cubicBezTo>
                <a:cubicBezTo>
                  <a:pt x="1076" y="4958"/>
                  <a:pt x="1051" y="4946"/>
                  <a:pt x="1025" y="4945"/>
                </a:cubicBezTo>
                <a:cubicBezTo>
                  <a:pt x="998" y="4944"/>
                  <a:pt x="972" y="4953"/>
                  <a:pt x="952" y="4970"/>
                </a:cubicBezTo>
                <a:cubicBezTo>
                  <a:pt x="932" y="4988"/>
                  <a:pt x="920" y="5013"/>
                  <a:pt x="918" y="5040"/>
                </a:cubicBezTo>
                <a:cubicBezTo>
                  <a:pt x="896" y="5462"/>
                  <a:pt x="896" y="5462"/>
                  <a:pt x="896" y="5462"/>
                </a:cubicBezTo>
                <a:cubicBezTo>
                  <a:pt x="348" y="5405"/>
                  <a:pt x="348" y="5405"/>
                  <a:pt x="348" y="5405"/>
                </a:cubicBezTo>
                <a:lnTo>
                  <a:pt x="350" y="5384"/>
                </a:lnTo>
                <a:close/>
                <a:moveTo>
                  <a:pt x="325" y="5605"/>
                </a:moveTo>
                <a:cubicBezTo>
                  <a:pt x="879" y="5663"/>
                  <a:pt x="879" y="5663"/>
                  <a:pt x="879" y="5663"/>
                </a:cubicBezTo>
                <a:cubicBezTo>
                  <a:pt x="879" y="5668"/>
                  <a:pt x="879" y="5668"/>
                  <a:pt x="879" y="5668"/>
                </a:cubicBezTo>
                <a:cubicBezTo>
                  <a:pt x="810" y="7037"/>
                  <a:pt x="810" y="7037"/>
                  <a:pt x="810" y="7037"/>
                </a:cubicBezTo>
                <a:cubicBezTo>
                  <a:pt x="494" y="7037"/>
                  <a:pt x="494" y="7037"/>
                  <a:pt x="494" y="7037"/>
                </a:cubicBezTo>
                <a:cubicBezTo>
                  <a:pt x="316" y="7037"/>
                  <a:pt x="208" y="6925"/>
                  <a:pt x="204" y="6738"/>
                </a:cubicBezTo>
                <a:cubicBezTo>
                  <a:pt x="203" y="6694"/>
                  <a:pt x="204" y="6685"/>
                  <a:pt x="229" y="6467"/>
                </a:cubicBezTo>
                <a:cubicBezTo>
                  <a:pt x="246" y="6314"/>
                  <a:pt x="276" y="6057"/>
                  <a:pt x="325" y="5610"/>
                </a:cubicBezTo>
                <a:lnTo>
                  <a:pt x="325" y="560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294DC17-9A14-37DE-783C-5316EF0C8D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620" y="1207157"/>
            <a:ext cx="457200" cy="4572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A1A6123-DF40-5547-59CB-AB4D8EEAFB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011" y="1062681"/>
            <a:ext cx="5993939" cy="49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5684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D00875B-CF39-2D2D-2CC7-0243D0D7F3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714" y="204395"/>
            <a:ext cx="7078532" cy="6653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8768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08FCEA-9F0C-6797-B77F-4C6CA9B38031}"/>
              </a:ext>
            </a:extLst>
          </p:cNvPr>
          <p:cNvSpPr/>
          <p:nvPr/>
        </p:nvSpPr>
        <p:spPr>
          <a:xfrm>
            <a:off x="479052" y="1062683"/>
            <a:ext cx="4475075" cy="755359"/>
          </a:xfrm>
          <a:prstGeom prst="rect">
            <a:avLst/>
          </a:prstGeom>
          <a:solidFill>
            <a:schemeClr val="bg2">
              <a:alpha val="1011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0F5F7-6322-5EE9-74C9-249C6C61694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354">
              <a:defRPr/>
            </a:pPr>
            <a:fld id="{D61AABEC-672F-4B68-B914-690DA978312C}" type="slidenum">
              <a:rPr lang="en-GB">
                <a:solidFill>
                  <a:srgbClr val="2F469C">
                    <a:lumMod val="75000"/>
                  </a:srgbClr>
                </a:solidFill>
                <a:latin typeface="Arial Black"/>
              </a:rPr>
              <a:pPr defTabSz="914354">
                <a:defRPr/>
              </a:pPr>
              <a:t>37</a:t>
            </a:fld>
            <a:r>
              <a:rPr lang="en-GB">
                <a:solidFill>
                  <a:srgbClr val="2F469C">
                    <a:lumMod val="75000"/>
                  </a:srgbClr>
                </a:solidFill>
                <a:latin typeface="Arial Black"/>
              </a:rPr>
              <a:t> ‒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232F4DC-1C94-1227-E1C4-363B7C895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GERIA population by age and se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AAF018-2CD4-6795-3DF0-13BCD244FAB4}"/>
              </a:ext>
            </a:extLst>
          </p:cNvPr>
          <p:cNvSpPr txBox="1"/>
          <p:nvPr/>
        </p:nvSpPr>
        <p:spPr>
          <a:xfrm>
            <a:off x="1234628" y="1251932"/>
            <a:ext cx="29639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2000" b="1" dirty="0">
                <a:solidFill>
                  <a:srgbClr val="2F469C"/>
                </a:solidFill>
                <a:latin typeface="Arial"/>
              </a:rPr>
              <a:t>NIGERIA</a:t>
            </a: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74CB6FCB-6ADC-C402-CCE4-07A028318AC1}"/>
              </a:ext>
            </a:extLst>
          </p:cNvPr>
          <p:cNvGraphicFramePr>
            <a:graphicFrameLocks noGrp="1"/>
          </p:cNvGraphicFramePr>
          <p:nvPr/>
        </p:nvGraphicFramePr>
        <p:xfrm>
          <a:off x="479051" y="1818040"/>
          <a:ext cx="4475076" cy="422143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761233">
                  <a:extLst>
                    <a:ext uri="{9D8B030D-6E8A-4147-A177-3AD203B41FA5}">
                      <a16:colId xmlns:a16="http://schemas.microsoft.com/office/drawing/2014/main" val="2185152550"/>
                    </a:ext>
                  </a:extLst>
                </a:gridCol>
                <a:gridCol w="1713843">
                  <a:extLst>
                    <a:ext uri="{9D8B030D-6E8A-4147-A177-3AD203B41FA5}">
                      <a16:colId xmlns:a16="http://schemas.microsoft.com/office/drawing/2014/main" val="2589733917"/>
                    </a:ext>
                  </a:extLst>
                </a:gridCol>
              </a:tblGrid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Median Age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17</a:t>
                      </a:r>
                    </a:p>
                  </a:txBody>
                  <a:tcPr marL="137160" marR="137160" marT="137160" marB="137160" anchor="ctr">
                    <a:lnT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755190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Longevity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55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258211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ercentage 65+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3%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364743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Fertility Rate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5.14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537687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eak Fertility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6.89 (1979)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867453"/>
                  </a:ext>
                </a:extLst>
              </a:tr>
              <a:tr h="703573">
                <a:tc>
                  <a:txBody>
                    <a:bodyPr/>
                    <a:lstStyle/>
                    <a:p>
                      <a:r>
                        <a:rPr lang="en-US" sz="1900" b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elow Replacement</a:t>
                      </a:r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NA</a:t>
                      </a:r>
                    </a:p>
                  </a:txBody>
                  <a:tcPr marL="137160" marR="137160" marT="137160" marB="137160" anchor="ctr">
                    <a:lnT w="9525" cap="flat" cmpd="sng" algn="ctr">
                      <a:solidFill>
                        <a:schemeClr val="accent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633400"/>
                  </a:ext>
                </a:extLst>
              </a:tr>
            </a:tbl>
          </a:graphicData>
        </a:graphic>
      </p:graphicFrame>
      <p:sp>
        <p:nvSpPr>
          <p:cNvPr id="20" name="Freeform 29">
            <a:extLst>
              <a:ext uri="{FF2B5EF4-FFF2-40B4-BE49-F238E27FC236}">
                <a16:creationId xmlns:a16="http://schemas.microsoft.com/office/drawing/2014/main" id="{BA4776A9-9C74-2101-BFE1-89F6896DEC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82721" y="1198199"/>
            <a:ext cx="477259" cy="480132"/>
          </a:xfrm>
          <a:custGeom>
            <a:avLst/>
            <a:gdLst>
              <a:gd name="T0" fmla="*/ 7060 w 7204"/>
              <a:gd name="T1" fmla="*/ 7103 h 7239"/>
              <a:gd name="T2" fmla="*/ 5691 w 7204"/>
              <a:gd name="T3" fmla="*/ 3658 h 7239"/>
              <a:gd name="T4" fmla="*/ 6650 w 7204"/>
              <a:gd name="T5" fmla="*/ 1294 h 7239"/>
              <a:gd name="T6" fmla="*/ 3665 w 7204"/>
              <a:gd name="T7" fmla="*/ 1274 h 7239"/>
              <a:gd name="T8" fmla="*/ 2829 w 7204"/>
              <a:gd name="T9" fmla="*/ 3722 h 7239"/>
              <a:gd name="T10" fmla="*/ 3210 w 7204"/>
              <a:gd name="T11" fmla="*/ 2330 h 7239"/>
              <a:gd name="T12" fmla="*/ 3418 w 7204"/>
              <a:gd name="T13" fmla="*/ 1071 h 7239"/>
              <a:gd name="T14" fmla="*/ 605 w 7204"/>
              <a:gd name="T15" fmla="*/ 1757 h 7239"/>
              <a:gd name="T16" fmla="*/ 1517 w 7204"/>
              <a:gd name="T17" fmla="*/ 3380 h 7239"/>
              <a:gd name="T18" fmla="*/ 4683 w 7204"/>
              <a:gd name="T19" fmla="*/ 7036 h 7239"/>
              <a:gd name="T20" fmla="*/ 4179 w 7204"/>
              <a:gd name="T21" fmla="*/ 6816 h 7239"/>
              <a:gd name="T22" fmla="*/ 2814 w 7204"/>
              <a:gd name="T23" fmla="*/ 7037 h 7239"/>
              <a:gd name="T24" fmla="*/ 3125 w 7204"/>
              <a:gd name="T25" fmla="*/ 6100 h 7239"/>
              <a:gd name="T26" fmla="*/ 4642 w 7204"/>
              <a:gd name="T27" fmla="*/ 6663 h 7239"/>
              <a:gd name="T28" fmla="*/ 3934 w 7204"/>
              <a:gd name="T29" fmla="*/ 4406 h 7239"/>
              <a:gd name="T30" fmla="*/ 3857 w 7204"/>
              <a:gd name="T31" fmla="*/ 5570 h 7239"/>
              <a:gd name="T32" fmla="*/ 2997 w 7204"/>
              <a:gd name="T33" fmla="*/ 4925 h 7239"/>
              <a:gd name="T34" fmla="*/ 3569 w 7204"/>
              <a:gd name="T35" fmla="*/ 5828 h 7239"/>
              <a:gd name="T36" fmla="*/ 3845 w 7204"/>
              <a:gd name="T37" fmla="*/ 6040 h 7239"/>
              <a:gd name="T38" fmla="*/ 6674 w 7204"/>
              <a:gd name="T39" fmla="*/ 7038 h 7239"/>
              <a:gd name="T40" fmla="*/ 6217 w 7204"/>
              <a:gd name="T41" fmla="*/ 3997 h 7239"/>
              <a:gd name="T42" fmla="*/ 6290 w 7204"/>
              <a:gd name="T43" fmla="*/ 5040 h 7239"/>
              <a:gd name="T44" fmla="*/ 4788 w 7204"/>
              <a:gd name="T45" fmla="*/ 6302 h 7239"/>
              <a:gd name="T46" fmla="*/ 4399 w 7204"/>
              <a:gd name="T47" fmla="*/ 5154 h 7239"/>
              <a:gd name="T48" fmla="*/ 5914 w 7204"/>
              <a:gd name="T49" fmla="*/ 4666 h 7239"/>
              <a:gd name="T50" fmla="*/ 4586 w 7204"/>
              <a:gd name="T51" fmla="*/ 4491 h 7239"/>
              <a:gd name="T52" fmla="*/ 4106 w 7204"/>
              <a:gd name="T53" fmla="*/ 3616 h 7239"/>
              <a:gd name="T54" fmla="*/ 4413 w 7204"/>
              <a:gd name="T55" fmla="*/ 4722 h 7239"/>
              <a:gd name="T56" fmla="*/ 5406 w 7204"/>
              <a:gd name="T57" fmla="*/ 4337 h 7239"/>
              <a:gd name="T58" fmla="*/ 4575 w 7204"/>
              <a:gd name="T59" fmla="*/ 3880 h 7239"/>
              <a:gd name="T60" fmla="*/ 5486 w 7204"/>
              <a:gd name="T61" fmla="*/ 3661 h 7239"/>
              <a:gd name="T62" fmla="*/ 4195 w 7204"/>
              <a:gd name="T63" fmla="*/ 1726 h 7239"/>
              <a:gd name="T64" fmla="*/ 6131 w 7204"/>
              <a:gd name="T65" fmla="*/ 2090 h 7239"/>
              <a:gd name="T66" fmla="*/ 5161 w 7204"/>
              <a:gd name="T67" fmla="*/ 3300 h 7239"/>
              <a:gd name="T68" fmla="*/ 6468 w 7204"/>
              <a:gd name="T69" fmla="*/ 1803 h 7239"/>
              <a:gd name="T70" fmla="*/ 5712 w 7204"/>
              <a:gd name="T71" fmla="*/ 3365 h 7239"/>
              <a:gd name="T72" fmla="*/ 4140 w 7204"/>
              <a:gd name="T73" fmla="*/ 1528 h 7239"/>
              <a:gd name="T74" fmla="*/ 3999 w 7204"/>
              <a:gd name="T75" fmla="*/ 3414 h 7239"/>
              <a:gd name="T76" fmla="*/ 2822 w 7204"/>
              <a:gd name="T77" fmla="*/ 4422 h 7239"/>
              <a:gd name="T78" fmla="*/ 4371 w 7204"/>
              <a:gd name="T79" fmla="*/ 4496 h 7239"/>
              <a:gd name="T80" fmla="*/ 2840 w 7204"/>
              <a:gd name="T81" fmla="*/ 4495 h 7239"/>
              <a:gd name="T82" fmla="*/ 2795 w 7204"/>
              <a:gd name="T83" fmla="*/ 4939 h 7239"/>
              <a:gd name="T84" fmla="*/ 2488 w 7204"/>
              <a:gd name="T85" fmla="*/ 3782 h 7239"/>
              <a:gd name="T86" fmla="*/ 2366 w 7204"/>
              <a:gd name="T87" fmla="*/ 3458 h 7239"/>
              <a:gd name="T88" fmla="*/ 3217 w 7204"/>
              <a:gd name="T89" fmla="*/ 1804 h 7239"/>
              <a:gd name="T90" fmla="*/ 969 w 7204"/>
              <a:gd name="T91" fmla="*/ 1574 h 7239"/>
              <a:gd name="T92" fmla="*/ 829 w 7204"/>
              <a:gd name="T93" fmla="*/ 1241 h 7239"/>
              <a:gd name="T94" fmla="*/ 3274 w 7204"/>
              <a:gd name="T95" fmla="*/ 1536 h 7239"/>
              <a:gd name="T96" fmla="*/ 2873 w 7204"/>
              <a:gd name="T97" fmla="*/ 1099 h 7239"/>
              <a:gd name="T98" fmla="*/ 1073 w 7204"/>
              <a:gd name="T99" fmla="*/ 1748 h 7239"/>
              <a:gd name="T100" fmla="*/ 2762 w 7204"/>
              <a:gd name="T101" fmla="*/ 1291 h 7239"/>
              <a:gd name="T102" fmla="*/ 2485 w 7204"/>
              <a:gd name="T103" fmla="*/ 3194 h 7239"/>
              <a:gd name="T104" fmla="*/ 1995 w 7204"/>
              <a:gd name="T105" fmla="*/ 3300 h 7239"/>
              <a:gd name="T106" fmla="*/ 1732 w 7204"/>
              <a:gd name="T107" fmla="*/ 4225 h 7239"/>
              <a:gd name="T108" fmla="*/ 1244 w 7204"/>
              <a:gd name="T109" fmla="*/ 3933 h 7239"/>
              <a:gd name="T110" fmla="*/ 2041 w 7204"/>
              <a:gd name="T111" fmla="*/ 4933 h 7239"/>
              <a:gd name="T112" fmla="*/ 2664 w 7204"/>
              <a:gd name="T113" fmla="*/ 4164 h 7239"/>
              <a:gd name="T114" fmla="*/ 2807 w 7204"/>
              <a:gd name="T115" fmla="*/ 5158 h 7239"/>
              <a:gd name="T116" fmla="*/ 2409 w 7204"/>
              <a:gd name="T117" fmla="*/ 6324 h 7239"/>
              <a:gd name="T118" fmla="*/ 1094 w 7204"/>
              <a:gd name="T119" fmla="*/ 4978 h 7239"/>
              <a:gd name="T120" fmla="*/ 879 w 7204"/>
              <a:gd name="T121" fmla="*/ 5663 h 7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04" h="7239">
                <a:moveTo>
                  <a:pt x="43" y="6309"/>
                </a:moveTo>
                <a:cubicBezTo>
                  <a:pt x="1" y="6683"/>
                  <a:pt x="1" y="6683"/>
                  <a:pt x="2" y="6732"/>
                </a:cubicBezTo>
                <a:cubicBezTo>
                  <a:pt x="2" y="6740"/>
                  <a:pt x="2" y="6740"/>
                  <a:pt x="2" y="6740"/>
                </a:cubicBezTo>
                <a:cubicBezTo>
                  <a:pt x="0" y="6880"/>
                  <a:pt x="50" y="7008"/>
                  <a:pt x="141" y="7100"/>
                </a:cubicBezTo>
                <a:cubicBezTo>
                  <a:pt x="231" y="7191"/>
                  <a:pt x="353" y="7239"/>
                  <a:pt x="494" y="7239"/>
                </a:cubicBezTo>
                <a:cubicBezTo>
                  <a:pt x="1417" y="7239"/>
                  <a:pt x="1417" y="7239"/>
                  <a:pt x="1417" y="7239"/>
                </a:cubicBezTo>
                <a:cubicBezTo>
                  <a:pt x="6710" y="7239"/>
                  <a:pt x="6710" y="7239"/>
                  <a:pt x="6710" y="7239"/>
                </a:cubicBezTo>
                <a:cubicBezTo>
                  <a:pt x="6852" y="7239"/>
                  <a:pt x="6973" y="7192"/>
                  <a:pt x="7060" y="7103"/>
                </a:cubicBezTo>
                <a:cubicBezTo>
                  <a:pt x="7151" y="7011"/>
                  <a:pt x="7204" y="6875"/>
                  <a:pt x="7202" y="6739"/>
                </a:cubicBezTo>
                <a:cubicBezTo>
                  <a:pt x="7202" y="6731"/>
                  <a:pt x="7202" y="6731"/>
                  <a:pt x="7202" y="6731"/>
                </a:cubicBezTo>
                <a:cubicBezTo>
                  <a:pt x="7203" y="6686"/>
                  <a:pt x="7203" y="6686"/>
                  <a:pt x="7148" y="6196"/>
                </a:cubicBezTo>
                <a:cubicBezTo>
                  <a:pt x="7113" y="5886"/>
                  <a:pt x="7054" y="5367"/>
                  <a:pt x="6959" y="4509"/>
                </a:cubicBezTo>
                <a:cubicBezTo>
                  <a:pt x="6959" y="4509"/>
                  <a:pt x="6959" y="4509"/>
                  <a:pt x="6959" y="4509"/>
                </a:cubicBezTo>
                <a:cubicBezTo>
                  <a:pt x="6926" y="4239"/>
                  <a:pt x="6814" y="4054"/>
                  <a:pt x="6607" y="3928"/>
                </a:cubicBezTo>
                <a:cubicBezTo>
                  <a:pt x="6480" y="3850"/>
                  <a:pt x="6375" y="3825"/>
                  <a:pt x="6029" y="3741"/>
                </a:cubicBezTo>
                <a:cubicBezTo>
                  <a:pt x="5933" y="3718"/>
                  <a:pt x="5824" y="3691"/>
                  <a:pt x="5691" y="3658"/>
                </a:cubicBezTo>
                <a:cubicBezTo>
                  <a:pt x="5687" y="3657"/>
                  <a:pt x="5687" y="3657"/>
                  <a:pt x="5687" y="3657"/>
                </a:cubicBezTo>
                <a:cubicBezTo>
                  <a:pt x="5687" y="3616"/>
                  <a:pt x="5687" y="3616"/>
                  <a:pt x="5687" y="3616"/>
                </a:cubicBezTo>
                <a:cubicBezTo>
                  <a:pt x="6314" y="3616"/>
                  <a:pt x="6314" y="3616"/>
                  <a:pt x="6314" y="3616"/>
                </a:cubicBezTo>
                <a:cubicBezTo>
                  <a:pt x="6461" y="3616"/>
                  <a:pt x="6583" y="3496"/>
                  <a:pt x="6584" y="3349"/>
                </a:cubicBezTo>
                <a:cubicBezTo>
                  <a:pt x="6602" y="3043"/>
                  <a:pt x="6617" y="2800"/>
                  <a:pt x="6628" y="2605"/>
                </a:cubicBezTo>
                <a:cubicBezTo>
                  <a:pt x="6667" y="1952"/>
                  <a:pt x="6673" y="1852"/>
                  <a:pt x="6669" y="1804"/>
                </a:cubicBezTo>
                <a:cubicBezTo>
                  <a:pt x="6669" y="1786"/>
                  <a:pt x="6669" y="1766"/>
                  <a:pt x="6669" y="1744"/>
                </a:cubicBezTo>
                <a:cubicBezTo>
                  <a:pt x="6670" y="1608"/>
                  <a:pt x="6671" y="1402"/>
                  <a:pt x="6650" y="1294"/>
                </a:cubicBezTo>
                <a:cubicBezTo>
                  <a:pt x="6608" y="1009"/>
                  <a:pt x="6467" y="720"/>
                  <a:pt x="6263" y="503"/>
                </a:cubicBezTo>
                <a:cubicBezTo>
                  <a:pt x="6256" y="495"/>
                  <a:pt x="6256" y="495"/>
                  <a:pt x="6256" y="495"/>
                </a:cubicBezTo>
                <a:cubicBezTo>
                  <a:pt x="6051" y="278"/>
                  <a:pt x="5739" y="111"/>
                  <a:pt x="5556" y="76"/>
                </a:cubicBezTo>
                <a:cubicBezTo>
                  <a:pt x="5274" y="21"/>
                  <a:pt x="4866" y="0"/>
                  <a:pt x="4527" y="213"/>
                </a:cubicBezTo>
                <a:cubicBezTo>
                  <a:pt x="4380" y="305"/>
                  <a:pt x="4294" y="413"/>
                  <a:pt x="4256" y="469"/>
                </a:cubicBezTo>
                <a:cubicBezTo>
                  <a:pt x="4255" y="470"/>
                  <a:pt x="4255" y="470"/>
                  <a:pt x="4255" y="470"/>
                </a:cubicBezTo>
                <a:cubicBezTo>
                  <a:pt x="4253" y="471"/>
                  <a:pt x="4253" y="471"/>
                  <a:pt x="4253" y="471"/>
                </a:cubicBezTo>
                <a:cubicBezTo>
                  <a:pt x="3944" y="558"/>
                  <a:pt x="3741" y="836"/>
                  <a:pt x="3665" y="1274"/>
                </a:cubicBezTo>
                <a:cubicBezTo>
                  <a:pt x="3611" y="1588"/>
                  <a:pt x="3640" y="1882"/>
                  <a:pt x="3644" y="1915"/>
                </a:cubicBezTo>
                <a:cubicBezTo>
                  <a:pt x="3680" y="2483"/>
                  <a:pt x="3699" y="2839"/>
                  <a:pt x="3710" y="3051"/>
                </a:cubicBezTo>
                <a:cubicBezTo>
                  <a:pt x="3730" y="3421"/>
                  <a:pt x="3730" y="3421"/>
                  <a:pt x="3765" y="3481"/>
                </a:cubicBezTo>
                <a:cubicBezTo>
                  <a:pt x="3771" y="3490"/>
                  <a:pt x="3771" y="3490"/>
                  <a:pt x="3771" y="3490"/>
                </a:cubicBezTo>
                <a:cubicBezTo>
                  <a:pt x="3760" y="3489"/>
                  <a:pt x="3760" y="3489"/>
                  <a:pt x="3760" y="3489"/>
                </a:cubicBezTo>
                <a:cubicBezTo>
                  <a:pt x="3454" y="3440"/>
                  <a:pt x="3151" y="3532"/>
                  <a:pt x="2927" y="3744"/>
                </a:cubicBezTo>
                <a:cubicBezTo>
                  <a:pt x="2925" y="3746"/>
                  <a:pt x="2925" y="3746"/>
                  <a:pt x="2925" y="3746"/>
                </a:cubicBezTo>
                <a:cubicBezTo>
                  <a:pt x="2829" y="3722"/>
                  <a:pt x="2829" y="3722"/>
                  <a:pt x="2829" y="3722"/>
                </a:cubicBezTo>
                <a:cubicBezTo>
                  <a:pt x="2824" y="3719"/>
                  <a:pt x="2599" y="3611"/>
                  <a:pt x="2573" y="3599"/>
                </a:cubicBezTo>
                <a:cubicBezTo>
                  <a:pt x="2570" y="3597"/>
                  <a:pt x="2570" y="3597"/>
                  <a:pt x="2570" y="3597"/>
                </a:cubicBezTo>
                <a:cubicBezTo>
                  <a:pt x="2570" y="3377"/>
                  <a:pt x="2570" y="3377"/>
                  <a:pt x="2570" y="3377"/>
                </a:cubicBezTo>
                <a:cubicBezTo>
                  <a:pt x="2573" y="3376"/>
                  <a:pt x="2573" y="3376"/>
                  <a:pt x="2573" y="3376"/>
                </a:cubicBezTo>
                <a:cubicBezTo>
                  <a:pt x="3009" y="3159"/>
                  <a:pt x="3142" y="2761"/>
                  <a:pt x="3180" y="2600"/>
                </a:cubicBezTo>
                <a:cubicBezTo>
                  <a:pt x="3181" y="2594"/>
                  <a:pt x="3182" y="2592"/>
                  <a:pt x="3182" y="2590"/>
                </a:cubicBezTo>
                <a:cubicBezTo>
                  <a:pt x="3201" y="2506"/>
                  <a:pt x="3210" y="2420"/>
                  <a:pt x="3210" y="2334"/>
                </a:cubicBezTo>
                <a:cubicBezTo>
                  <a:pt x="3210" y="2330"/>
                  <a:pt x="3210" y="2330"/>
                  <a:pt x="3210" y="2330"/>
                </a:cubicBezTo>
                <a:cubicBezTo>
                  <a:pt x="3214" y="2328"/>
                  <a:pt x="3214" y="2328"/>
                  <a:pt x="3214" y="2328"/>
                </a:cubicBezTo>
                <a:cubicBezTo>
                  <a:pt x="3408" y="2286"/>
                  <a:pt x="3543" y="2135"/>
                  <a:pt x="3543" y="1960"/>
                </a:cubicBezTo>
                <a:cubicBezTo>
                  <a:pt x="3543" y="1889"/>
                  <a:pt x="3520" y="1820"/>
                  <a:pt x="3477" y="1760"/>
                </a:cubicBezTo>
                <a:cubicBezTo>
                  <a:pt x="3476" y="1759"/>
                  <a:pt x="3476" y="1759"/>
                  <a:pt x="3476" y="1759"/>
                </a:cubicBezTo>
                <a:cubicBezTo>
                  <a:pt x="3476" y="1757"/>
                  <a:pt x="3476" y="1757"/>
                  <a:pt x="3476" y="1757"/>
                </a:cubicBezTo>
                <a:cubicBezTo>
                  <a:pt x="3476" y="1731"/>
                  <a:pt x="3477" y="1706"/>
                  <a:pt x="3477" y="1682"/>
                </a:cubicBezTo>
                <a:cubicBezTo>
                  <a:pt x="3479" y="1449"/>
                  <a:pt x="3480" y="1296"/>
                  <a:pt x="3427" y="1098"/>
                </a:cubicBezTo>
                <a:cubicBezTo>
                  <a:pt x="3425" y="1093"/>
                  <a:pt x="3422" y="1084"/>
                  <a:pt x="3418" y="1071"/>
                </a:cubicBezTo>
                <a:cubicBezTo>
                  <a:pt x="3394" y="991"/>
                  <a:pt x="3331" y="778"/>
                  <a:pt x="3141" y="552"/>
                </a:cubicBezTo>
                <a:cubicBezTo>
                  <a:pt x="3141" y="552"/>
                  <a:pt x="3141" y="552"/>
                  <a:pt x="3141" y="552"/>
                </a:cubicBezTo>
                <a:cubicBezTo>
                  <a:pt x="3140" y="551"/>
                  <a:pt x="3140" y="551"/>
                  <a:pt x="3140" y="551"/>
                </a:cubicBezTo>
                <a:cubicBezTo>
                  <a:pt x="2861" y="219"/>
                  <a:pt x="2456" y="40"/>
                  <a:pt x="2041" y="40"/>
                </a:cubicBezTo>
                <a:cubicBezTo>
                  <a:pt x="1825" y="40"/>
                  <a:pt x="1606" y="89"/>
                  <a:pt x="1401" y="189"/>
                </a:cubicBezTo>
                <a:cubicBezTo>
                  <a:pt x="910" y="433"/>
                  <a:pt x="605" y="926"/>
                  <a:pt x="605" y="1474"/>
                </a:cubicBezTo>
                <a:cubicBezTo>
                  <a:pt x="605" y="1585"/>
                  <a:pt x="605" y="1585"/>
                  <a:pt x="605" y="1585"/>
                </a:cubicBezTo>
                <a:cubicBezTo>
                  <a:pt x="605" y="1666"/>
                  <a:pt x="605" y="1750"/>
                  <a:pt x="605" y="1757"/>
                </a:cubicBezTo>
                <a:cubicBezTo>
                  <a:pt x="605" y="1759"/>
                  <a:pt x="605" y="1759"/>
                  <a:pt x="605" y="1759"/>
                </a:cubicBezTo>
                <a:cubicBezTo>
                  <a:pt x="604" y="1760"/>
                  <a:pt x="604" y="1760"/>
                  <a:pt x="604" y="1760"/>
                </a:cubicBezTo>
                <a:cubicBezTo>
                  <a:pt x="536" y="1856"/>
                  <a:pt x="520" y="1973"/>
                  <a:pt x="562" y="2081"/>
                </a:cubicBezTo>
                <a:cubicBezTo>
                  <a:pt x="609" y="2205"/>
                  <a:pt x="724" y="2297"/>
                  <a:pt x="867" y="2328"/>
                </a:cubicBezTo>
                <a:cubicBezTo>
                  <a:pt x="871" y="2329"/>
                  <a:pt x="871" y="2329"/>
                  <a:pt x="871" y="2329"/>
                </a:cubicBezTo>
                <a:cubicBezTo>
                  <a:pt x="871" y="2333"/>
                  <a:pt x="871" y="2333"/>
                  <a:pt x="871" y="2333"/>
                </a:cubicBezTo>
                <a:cubicBezTo>
                  <a:pt x="881" y="2787"/>
                  <a:pt x="1121" y="3178"/>
                  <a:pt x="1514" y="3378"/>
                </a:cubicBezTo>
                <a:cubicBezTo>
                  <a:pt x="1517" y="3380"/>
                  <a:pt x="1517" y="3380"/>
                  <a:pt x="1517" y="3380"/>
                </a:cubicBezTo>
                <a:cubicBezTo>
                  <a:pt x="1517" y="3595"/>
                  <a:pt x="1517" y="3595"/>
                  <a:pt x="1517" y="3595"/>
                </a:cubicBezTo>
                <a:cubicBezTo>
                  <a:pt x="1514" y="3596"/>
                  <a:pt x="1514" y="3596"/>
                  <a:pt x="1514" y="3596"/>
                </a:cubicBezTo>
                <a:cubicBezTo>
                  <a:pt x="1246" y="3724"/>
                  <a:pt x="1246" y="3724"/>
                  <a:pt x="1246" y="3724"/>
                </a:cubicBezTo>
                <a:cubicBezTo>
                  <a:pt x="1166" y="3747"/>
                  <a:pt x="1093" y="3764"/>
                  <a:pt x="1022" y="3781"/>
                </a:cubicBezTo>
                <a:cubicBezTo>
                  <a:pt x="832" y="3826"/>
                  <a:pt x="682" y="3862"/>
                  <a:pt x="557" y="3955"/>
                </a:cubicBezTo>
                <a:cubicBezTo>
                  <a:pt x="356" y="4109"/>
                  <a:pt x="277" y="4249"/>
                  <a:pt x="245" y="4510"/>
                </a:cubicBezTo>
                <a:cubicBezTo>
                  <a:pt x="137" y="5484"/>
                  <a:pt x="76" y="6021"/>
                  <a:pt x="43" y="6309"/>
                </a:cubicBezTo>
                <a:close/>
                <a:moveTo>
                  <a:pt x="4683" y="7036"/>
                </a:moveTo>
                <a:cubicBezTo>
                  <a:pt x="4678" y="7037"/>
                  <a:pt x="4678" y="7037"/>
                  <a:pt x="4678" y="7037"/>
                </a:cubicBezTo>
                <a:cubicBezTo>
                  <a:pt x="4393" y="7037"/>
                  <a:pt x="4393" y="7037"/>
                  <a:pt x="4393" y="7037"/>
                </a:cubicBezTo>
                <a:cubicBezTo>
                  <a:pt x="4393" y="7032"/>
                  <a:pt x="4393" y="7032"/>
                  <a:pt x="4393" y="7032"/>
                </a:cubicBezTo>
                <a:cubicBezTo>
                  <a:pt x="4380" y="6805"/>
                  <a:pt x="4380" y="6805"/>
                  <a:pt x="4380" y="6805"/>
                </a:cubicBezTo>
                <a:cubicBezTo>
                  <a:pt x="4379" y="6778"/>
                  <a:pt x="4367" y="6753"/>
                  <a:pt x="4347" y="6735"/>
                </a:cubicBezTo>
                <a:cubicBezTo>
                  <a:pt x="4326" y="6717"/>
                  <a:pt x="4301" y="6708"/>
                  <a:pt x="4274" y="6710"/>
                </a:cubicBezTo>
                <a:cubicBezTo>
                  <a:pt x="4247" y="6711"/>
                  <a:pt x="4222" y="6723"/>
                  <a:pt x="4204" y="6743"/>
                </a:cubicBezTo>
                <a:cubicBezTo>
                  <a:pt x="4186" y="6763"/>
                  <a:pt x="4177" y="6789"/>
                  <a:pt x="4179" y="6816"/>
                </a:cubicBezTo>
                <a:cubicBezTo>
                  <a:pt x="4191" y="7037"/>
                  <a:pt x="4191" y="7037"/>
                  <a:pt x="4191" y="7037"/>
                </a:cubicBezTo>
                <a:cubicBezTo>
                  <a:pt x="3016" y="7037"/>
                  <a:pt x="3016" y="7037"/>
                  <a:pt x="3016" y="7037"/>
                </a:cubicBezTo>
                <a:cubicBezTo>
                  <a:pt x="3016" y="7032"/>
                  <a:pt x="3016" y="7032"/>
                  <a:pt x="3016" y="7032"/>
                </a:cubicBezTo>
                <a:cubicBezTo>
                  <a:pt x="3028" y="6816"/>
                  <a:pt x="3028" y="6816"/>
                  <a:pt x="3028" y="6816"/>
                </a:cubicBezTo>
                <a:cubicBezTo>
                  <a:pt x="3030" y="6789"/>
                  <a:pt x="3021" y="6763"/>
                  <a:pt x="3003" y="6743"/>
                </a:cubicBezTo>
                <a:cubicBezTo>
                  <a:pt x="2985" y="6723"/>
                  <a:pt x="2960" y="6711"/>
                  <a:pt x="2933" y="6710"/>
                </a:cubicBezTo>
                <a:cubicBezTo>
                  <a:pt x="2878" y="6706"/>
                  <a:pt x="2830" y="6749"/>
                  <a:pt x="2827" y="6805"/>
                </a:cubicBezTo>
                <a:cubicBezTo>
                  <a:pt x="2814" y="7037"/>
                  <a:pt x="2814" y="7037"/>
                  <a:pt x="2814" y="7037"/>
                </a:cubicBezTo>
                <a:cubicBezTo>
                  <a:pt x="2810" y="7037"/>
                  <a:pt x="2810" y="7037"/>
                  <a:pt x="2810" y="7037"/>
                </a:cubicBezTo>
                <a:cubicBezTo>
                  <a:pt x="2521" y="7037"/>
                  <a:pt x="2521" y="7037"/>
                  <a:pt x="2521" y="7037"/>
                </a:cubicBezTo>
                <a:cubicBezTo>
                  <a:pt x="2521" y="7032"/>
                  <a:pt x="2521" y="7032"/>
                  <a:pt x="2521" y="7032"/>
                </a:cubicBezTo>
                <a:cubicBezTo>
                  <a:pt x="2535" y="6914"/>
                  <a:pt x="2544" y="6817"/>
                  <a:pt x="2553" y="6731"/>
                </a:cubicBezTo>
                <a:cubicBezTo>
                  <a:pt x="2587" y="6392"/>
                  <a:pt x="2596" y="6301"/>
                  <a:pt x="2739" y="6216"/>
                </a:cubicBezTo>
                <a:cubicBezTo>
                  <a:pt x="2800" y="6179"/>
                  <a:pt x="2846" y="6168"/>
                  <a:pt x="2947" y="6144"/>
                </a:cubicBezTo>
                <a:cubicBezTo>
                  <a:pt x="2992" y="6133"/>
                  <a:pt x="3048" y="6120"/>
                  <a:pt x="3122" y="6101"/>
                </a:cubicBezTo>
                <a:cubicBezTo>
                  <a:pt x="3125" y="6100"/>
                  <a:pt x="3125" y="6100"/>
                  <a:pt x="3125" y="6100"/>
                </a:cubicBezTo>
                <a:cubicBezTo>
                  <a:pt x="3127" y="6102"/>
                  <a:pt x="3127" y="6102"/>
                  <a:pt x="3127" y="6102"/>
                </a:cubicBezTo>
                <a:cubicBezTo>
                  <a:pt x="3247" y="6238"/>
                  <a:pt x="3420" y="6317"/>
                  <a:pt x="3602" y="6317"/>
                </a:cubicBezTo>
                <a:cubicBezTo>
                  <a:pt x="3784" y="6317"/>
                  <a:pt x="3957" y="6238"/>
                  <a:pt x="4078" y="6102"/>
                </a:cubicBezTo>
                <a:cubicBezTo>
                  <a:pt x="4080" y="6100"/>
                  <a:pt x="4080" y="6100"/>
                  <a:pt x="4080" y="6100"/>
                </a:cubicBezTo>
                <a:cubicBezTo>
                  <a:pt x="4087" y="6102"/>
                  <a:pt x="4087" y="6102"/>
                  <a:pt x="4087" y="6102"/>
                </a:cubicBezTo>
                <a:cubicBezTo>
                  <a:pt x="4157" y="6121"/>
                  <a:pt x="4213" y="6134"/>
                  <a:pt x="4258" y="6145"/>
                </a:cubicBezTo>
                <a:cubicBezTo>
                  <a:pt x="4352" y="6166"/>
                  <a:pt x="4403" y="6179"/>
                  <a:pt x="4465" y="6216"/>
                </a:cubicBezTo>
                <a:cubicBezTo>
                  <a:pt x="4608" y="6301"/>
                  <a:pt x="4617" y="6400"/>
                  <a:pt x="4642" y="6663"/>
                </a:cubicBezTo>
                <a:cubicBezTo>
                  <a:pt x="4651" y="6760"/>
                  <a:pt x="4662" y="6881"/>
                  <a:pt x="4683" y="7032"/>
                </a:cubicBezTo>
                <a:lnTo>
                  <a:pt x="4683" y="7036"/>
                </a:lnTo>
                <a:close/>
                <a:moveTo>
                  <a:pt x="2997" y="4684"/>
                </a:moveTo>
                <a:cubicBezTo>
                  <a:pt x="2997" y="4678"/>
                  <a:pt x="2997" y="4678"/>
                  <a:pt x="2997" y="4678"/>
                </a:cubicBezTo>
                <a:cubicBezTo>
                  <a:pt x="3003" y="4679"/>
                  <a:pt x="3003" y="4679"/>
                  <a:pt x="3003" y="4679"/>
                </a:cubicBezTo>
                <a:cubicBezTo>
                  <a:pt x="3458" y="4773"/>
                  <a:pt x="3785" y="4591"/>
                  <a:pt x="3926" y="4406"/>
                </a:cubicBezTo>
                <a:cubicBezTo>
                  <a:pt x="3930" y="4400"/>
                  <a:pt x="3930" y="4400"/>
                  <a:pt x="3930" y="4400"/>
                </a:cubicBezTo>
                <a:cubicBezTo>
                  <a:pt x="3934" y="4406"/>
                  <a:pt x="3934" y="4406"/>
                  <a:pt x="3934" y="4406"/>
                </a:cubicBezTo>
                <a:cubicBezTo>
                  <a:pt x="4026" y="4541"/>
                  <a:pt x="4130" y="4601"/>
                  <a:pt x="4201" y="4627"/>
                </a:cubicBezTo>
                <a:cubicBezTo>
                  <a:pt x="4204" y="4628"/>
                  <a:pt x="4204" y="4628"/>
                  <a:pt x="4204" y="4628"/>
                </a:cubicBezTo>
                <a:cubicBezTo>
                  <a:pt x="4204" y="4631"/>
                  <a:pt x="4204" y="4631"/>
                  <a:pt x="4204" y="4631"/>
                </a:cubicBezTo>
                <a:cubicBezTo>
                  <a:pt x="4204" y="4785"/>
                  <a:pt x="4204" y="4879"/>
                  <a:pt x="4204" y="4939"/>
                </a:cubicBezTo>
                <a:cubicBezTo>
                  <a:pt x="4204" y="5039"/>
                  <a:pt x="4204" y="5039"/>
                  <a:pt x="4203" y="5051"/>
                </a:cubicBezTo>
                <a:cubicBezTo>
                  <a:pt x="4202" y="5067"/>
                  <a:pt x="4202" y="5067"/>
                  <a:pt x="4202" y="5067"/>
                </a:cubicBezTo>
                <a:cubicBezTo>
                  <a:pt x="4202" y="5071"/>
                  <a:pt x="4202" y="5076"/>
                  <a:pt x="4201" y="5080"/>
                </a:cubicBezTo>
                <a:cubicBezTo>
                  <a:pt x="4181" y="5292"/>
                  <a:pt x="4049" y="5479"/>
                  <a:pt x="3857" y="5570"/>
                </a:cubicBezTo>
                <a:cubicBezTo>
                  <a:pt x="3855" y="5570"/>
                  <a:pt x="3855" y="5570"/>
                  <a:pt x="3855" y="5570"/>
                </a:cubicBezTo>
                <a:cubicBezTo>
                  <a:pt x="3855" y="5570"/>
                  <a:pt x="3854" y="5571"/>
                  <a:pt x="3852" y="5572"/>
                </a:cubicBezTo>
                <a:cubicBezTo>
                  <a:pt x="3810" y="5591"/>
                  <a:pt x="3714" y="5627"/>
                  <a:pt x="3593" y="5627"/>
                </a:cubicBezTo>
                <a:cubicBezTo>
                  <a:pt x="3482" y="5627"/>
                  <a:pt x="3350" y="5596"/>
                  <a:pt x="3222" y="5493"/>
                </a:cubicBezTo>
                <a:cubicBezTo>
                  <a:pt x="3221" y="5492"/>
                  <a:pt x="3221" y="5492"/>
                  <a:pt x="3221" y="5492"/>
                </a:cubicBezTo>
                <a:cubicBezTo>
                  <a:pt x="3220" y="5492"/>
                  <a:pt x="3219" y="5490"/>
                  <a:pt x="3217" y="5489"/>
                </a:cubicBezTo>
                <a:cubicBezTo>
                  <a:pt x="3148" y="5432"/>
                  <a:pt x="3029" y="5307"/>
                  <a:pt x="3002" y="5102"/>
                </a:cubicBezTo>
                <a:cubicBezTo>
                  <a:pt x="2996" y="5058"/>
                  <a:pt x="2997" y="5019"/>
                  <a:pt x="2997" y="4925"/>
                </a:cubicBezTo>
                <a:cubicBezTo>
                  <a:pt x="2997" y="4869"/>
                  <a:pt x="2998" y="4793"/>
                  <a:pt x="2997" y="4684"/>
                </a:cubicBezTo>
                <a:close/>
                <a:moveTo>
                  <a:pt x="3422" y="5849"/>
                </a:moveTo>
                <a:cubicBezTo>
                  <a:pt x="3422" y="5834"/>
                  <a:pt x="3421" y="5822"/>
                  <a:pt x="3422" y="5814"/>
                </a:cubicBezTo>
                <a:cubicBezTo>
                  <a:pt x="3423" y="5808"/>
                  <a:pt x="3423" y="5808"/>
                  <a:pt x="3423" y="5808"/>
                </a:cubicBezTo>
                <a:cubicBezTo>
                  <a:pt x="3428" y="5810"/>
                  <a:pt x="3428" y="5810"/>
                  <a:pt x="3428" y="5810"/>
                </a:cubicBezTo>
                <a:cubicBezTo>
                  <a:pt x="3472" y="5819"/>
                  <a:pt x="3517" y="5825"/>
                  <a:pt x="3562" y="5827"/>
                </a:cubicBezTo>
                <a:cubicBezTo>
                  <a:pt x="3563" y="5827"/>
                  <a:pt x="3565" y="5827"/>
                  <a:pt x="3566" y="5827"/>
                </a:cubicBezTo>
                <a:cubicBezTo>
                  <a:pt x="3567" y="5827"/>
                  <a:pt x="3568" y="5828"/>
                  <a:pt x="3569" y="5828"/>
                </a:cubicBezTo>
                <a:cubicBezTo>
                  <a:pt x="3577" y="5828"/>
                  <a:pt x="3577" y="5828"/>
                  <a:pt x="3577" y="5828"/>
                </a:cubicBezTo>
                <a:cubicBezTo>
                  <a:pt x="3647" y="5830"/>
                  <a:pt x="3721" y="5823"/>
                  <a:pt x="3776" y="5809"/>
                </a:cubicBezTo>
                <a:cubicBezTo>
                  <a:pt x="3781" y="5808"/>
                  <a:pt x="3781" y="5808"/>
                  <a:pt x="3781" y="5808"/>
                </a:cubicBezTo>
                <a:cubicBezTo>
                  <a:pt x="3782" y="5813"/>
                  <a:pt x="3782" y="5813"/>
                  <a:pt x="3782" y="5813"/>
                </a:cubicBezTo>
                <a:cubicBezTo>
                  <a:pt x="3783" y="5822"/>
                  <a:pt x="3783" y="5834"/>
                  <a:pt x="3782" y="5849"/>
                </a:cubicBezTo>
                <a:cubicBezTo>
                  <a:pt x="3780" y="5902"/>
                  <a:pt x="3778" y="5983"/>
                  <a:pt x="3845" y="6032"/>
                </a:cubicBezTo>
                <a:cubicBezTo>
                  <a:pt x="3850" y="6036"/>
                  <a:pt x="3850" y="6036"/>
                  <a:pt x="3850" y="6036"/>
                </a:cubicBezTo>
                <a:cubicBezTo>
                  <a:pt x="3845" y="6040"/>
                  <a:pt x="3845" y="6040"/>
                  <a:pt x="3845" y="6040"/>
                </a:cubicBezTo>
                <a:cubicBezTo>
                  <a:pt x="3771" y="6090"/>
                  <a:pt x="3687" y="6115"/>
                  <a:pt x="3602" y="6115"/>
                </a:cubicBezTo>
                <a:cubicBezTo>
                  <a:pt x="3518" y="6115"/>
                  <a:pt x="3433" y="6090"/>
                  <a:pt x="3359" y="6040"/>
                </a:cubicBezTo>
                <a:cubicBezTo>
                  <a:pt x="3354" y="6036"/>
                  <a:pt x="3354" y="6036"/>
                  <a:pt x="3354" y="6036"/>
                </a:cubicBezTo>
                <a:cubicBezTo>
                  <a:pt x="3359" y="6032"/>
                  <a:pt x="3359" y="6032"/>
                  <a:pt x="3359" y="6032"/>
                </a:cubicBezTo>
                <a:cubicBezTo>
                  <a:pt x="3426" y="5984"/>
                  <a:pt x="3424" y="5902"/>
                  <a:pt x="3422" y="5849"/>
                </a:cubicBezTo>
                <a:close/>
                <a:moveTo>
                  <a:pt x="6998" y="6673"/>
                </a:moveTo>
                <a:cubicBezTo>
                  <a:pt x="7009" y="6800"/>
                  <a:pt x="6983" y="6894"/>
                  <a:pt x="6917" y="6961"/>
                </a:cubicBezTo>
                <a:cubicBezTo>
                  <a:pt x="6852" y="7026"/>
                  <a:pt x="6775" y="7038"/>
                  <a:pt x="6674" y="7038"/>
                </a:cubicBezTo>
                <a:cubicBezTo>
                  <a:pt x="6650" y="7038"/>
                  <a:pt x="6623" y="7037"/>
                  <a:pt x="6596" y="7036"/>
                </a:cubicBezTo>
                <a:cubicBezTo>
                  <a:pt x="6538" y="7035"/>
                  <a:pt x="6473" y="7033"/>
                  <a:pt x="6400" y="7037"/>
                </a:cubicBezTo>
                <a:cubicBezTo>
                  <a:pt x="6395" y="7037"/>
                  <a:pt x="6395" y="7037"/>
                  <a:pt x="6395" y="7037"/>
                </a:cubicBezTo>
                <a:cubicBezTo>
                  <a:pt x="6323" y="5663"/>
                  <a:pt x="6323" y="5663"/>
                  <a:pt x="6323" y="5663"/>
                </a:cubicBezTo>
                <a:cubicBezTo>
                  <a:pt x="6879" y="5605"/>
                  <a:pt x="6879" y="5605"/>
                  <a:pt x="6879" y="5605"/>
                </a:cubicBezTo>
                <a:lnTo>
                  <a:pt x="6998" y="6673"/>
                </a:lnTo>
                <a:close/>
                <a:moveTo>
                  <a:pt x="6217" y="4003"/>
                </a:moveTo>
                <a:cubicBezTo>
                  <a:pt x="6217" y="3997"/>
                  <a:pt x="6217" y="3997"/>
                  <a:pt x="6217" y="3997"/>
                </a:cubicBezTo>
                <a:cubicBezTo>
                  <a:pt x="6223" y="3998"/>
                  <a:pt x="6223" y="3998"/>
                  <a:pt x="6223" y="3998"/>
                </a:cubicBezTo>
                <a:cubicBezTo>
                  <a:pt x="6231" y="4001"/>
                  <a:pt x="6241" y="4004"/>
                  <a:pt x="6255" y="4007"/>
                </a:cubicBezTo>
                <a:cubicBezTo>
                  <a:pt x="6370" y="4036"/>
                  <a:pt x="6677" y="4115"/>
                  <a:pt x="6743" y="4436"/>
                </a:cubicBezTo>
                <a:cubicBezTo>
                  <a:pt x="6749" y="4463"/>
                  <a:pt x="6755" y="4501"/>
                  <a:pt x="6759" y="4533"/>
                </a:cubicBezTo>
                <a:cubicBezTo>
                  <a:pt x="6856" y="5404"/>
                  <a:pt x="6856" y="5404"/>
                  <a:pt x="6856" y="5404"/>
                </a:cubicBezTo>
                <a:cubicBezTo>
                  <a:pt x="6312" y="5461"/>
                  <a:pt x="6312" y="5461"/>
                  <a:pt x="6312" y="5461"/>
                </a:cubicBezTo>
                <a:cubicBezTo>
                  <a:pt x="6312" y="5456"/>
                  <a:pt x="6312" y="5456"/>
                  <a:pt x="6312" y="5456"/>
                </a:cubicBezTo>
                <a:cubicBezTo>
                  <a:pt x="6290" y="5040"/>
                  <a:pt x="6290" y="5040"/>
                  <a:pt x="6290" y="5040"/>
                </a:cubicBezTo>
                <a:cubicBezTo>
                  <a:pt x="6288" y="5013"/>
                  <a:pt x="6276" y="4989"/>
                  <a:pt x="6256" y="4970"/>
                </a:cubicBezTo>
                <a:cubicBezTo>
                  <a:pt x="6236" y="4952"/>
                  <a:pt x="6210" y="4943"/>
                  <a:pt x="6184" y="4945"/>
                </a:cubicBezTo>
                <a:cubicBezTo>
                  <a:pt x="6128" y="4948"/>
                  <a:pt x="6085" y="4996"/>
                  <a:pt x="6088" y="5051"/>
                </a:cubicBezTo>
                <a:cubicBezTo>
                  <a:pt x="6193" y="7037"/>
                  <a:pt x="6193" y="7037"/>
                  <a:pt x="6193" y="7037"/>
                </a:cubicBezTo>
                <a:cubicBezTo>
                  <a:pt x="4888" y="7037"/>
                  <a:pt x="4888" y="7037"/>
                  <a:pt x="4888" y="7037"/>
                </a:cubicBezTo>
                <a:cubicBezTo>
                  <a:pt x="4888" y="7033"/>
                  <a:pt x="4888" y="7033"/>
                  <a:pt x="4888" y="7033"/>
                </a:cubicBezTo>
                <a:cubicBezTo>
                  <a:pt x="4865" y="6864"/>
                  <a:pt x="4852" y="6734"/>
                  <a:pt x="4841" y="6629"/>
                </a:cubicBezTo>
                <a:cubicBezTo>
                  <a:pt x="4826" y="6473"/>
                  <a:pt x="4816" y="6379"/>
                  <a:pt x="4788" y="6302"/>
                </a:cubicBezTo>
                <a:cubicBezTo>
                  <a:pt x="4729" y="6142"/>
                  <a:pt x="4586" y="6019"/>
                  <a:pt x="4406" y="5973"/>
                </a:cubicBezTo>
                <a:cubicBezTo>
                  <a:pt x="3984" y="5868"/>
                  <a:pt x="3984" y="5868"/>
                  <a:pt x="3984" y="5868"/>
                </a:cubicBezTo>
                <a:cubicBezTo>
                  <a:pt x="3984" y="5731"/>
                  <a:pt x="3984" y="5731"/>
                  <a:pt x="3984" y="5731"/>
                </a:cubicBezTo>
                <a:cubicBezTo>
                  <a:pt x="3986" y="5730"/>
                  <a:pt x="3986" y="5730"/>
                  <a:pt x="3986" y="5730"/>
                </a:cubicBezTo>
                <a:cubicBezTo>
                  <a:pt x="4202" y="5612"/>
                  <a:pt x="4354" y="5398"/>
                  <a:pt x="4394" y="5158"/>
                </a:cubicBezTo>
                <a:cubicBezTo>
                  <a:pt x="4395" y="5156"/>
                  <a:pt x="4395" y="5156"/>
                  <a:pt x="4395" y="5156"/>
                </a:cubicBezTo>
                <a:cubicBezTo>
                  <a:pt x="4397" y="5155"/>
                  <a:pt x="4397" y="5155"/>
                  <a:pt x="4397" y="5155"/>
                </a:cubicBezTo>
                <a:cubicBezTo>
                  <a:pt x="4397" y="5154"/>
                  <a:pt x="4398" y="5154"/>
                  <a:pt x="4399" y="5154"/>
                </a:cubicBezTo>
                <a:cubicBezTo>
                  <a:pt x="4440" y="5145"/>
                  <a:pt x="4644" y="5089"/>
                  <a:pt x="4681" y="4882"/>
                </a:cubicBezTo>
                <a:cubicBezTo>
                  <a:pt x="4693" y="4816"/>
                  <a:pt x="4683" y="4750"/>
                  <a:pt x="4652" y="4690"/>
                </a:cubicBezTo>
                <a:cubicBezTo>
                  <a:pt x="4649" y="4684"/>
                  <a:pt x="4649" y="4684"/>
                  <a:pt x="4649" y="4684"/>
                </a:cubicBezTo>
                <a:cubicBezTo>
                  <a:pt x="4656" y="4683"/>
                  <a:pt x="4656" y="4683"/>
                  <a:pt x="4656" y="4683"/>
                </a:cubicBezTo>
                <a:cubicBezTo>
                  <a:pt x="4858" y="4642"/>
                  <a:pt x="5057" y="4490"/>
                  <a:pt x="5157" y="4403"/>
                </a:cubicBezTo>
                <a:cubicBezTo>
                  <a:pt x="5161" y="4400"/>
                  <a:pt x="5161" y="4400"/>
                  <a:pt x="5161" y="4400"/>
                </a:cubicBezTo>
                <a:cubicBezTo>
                  <a:pt x="5164" y="4403"/>
                  <a:pt x="5164" y="4403"/>
                  <a:pt x="5164" y="4403"/>
                </a:cubicBezTo>
                <a:cubicBezTo>
                  <a:pt x="5455" y="4655"/>
                  <a:pt x="5721" y="4748"/>
                  <a:pt x="5914" y="4666"/>
                </a:cubicBezTo>
                <a:cubicBezTo>
                  <a:pt x="6095" y="4589"/>
                  <a:pt x="6200" y="4359"/>
                  <a:pt x="6217" y="4003"/>
                </a:cubicBezTo>
                <a:close/>
                <a:moveTo>
                  <a:pt x="4527" y="4134"/>
                </a:moveTo>
                <a:cubicBezTo>
                  <a:pt x="4521" y="4117"/>
                  <a:pt x="4521" y="4117"/>
                  <a:pt x="4521" y="4117"/>
                </a:cubicBezTo>
                <a:cubicBezTo>
                  <a:pt x="4534" y="4129"/>
                  <a:pt x="4534" y="4129"/>
                  <a:pt x="4534" y="4129"/>
                </a:cubicBezTo>
                <a:cubicBezTo>
                  <a:pt x="4646" y="4224"/>
                  <a:pt x="4773" y="4292"/>
                  <a:pt x="4912" y="4329"/>
                </a:cubicBezTo>
                <a:cubicBezTo>
                  <a:pt x="4922" y="4331"/>
                  <a:pt x="4922" y="4331"/>
                  <a:pt x="4922" y="4331"/>
                </a:cubicBezTo>
                <a:cubicBezTo>
                  <a:pt x="4914" y="4337"/>
                  <a:pt x="4914" y="4337"/>
                  <a:pt x="4914" y="4337"/>
                </a:cubicBezTo>
                <a:cubicBezTo>
                  <a:pt x="4826" y="4401"/>
                  <a:pt x="4697" y="4479"/>
                  <a:pt x="4586" y="4491"/>
                </a:cubicBezTo>
                <a:cubicBezTo>
                  <a:pt x="4581" y="4492"/>
                  <a:pt x="4581" y="4492"/>
                  <a:pt x="4581" y="4492"/>
                </a:cubicBezTo>
                <a:cubicBezTo>
                  <a:pt x="4581" y="4487"/>
                  <a:pt x="4581" y="4487"/>
                  <a:pt x="4581" y="4487"/>
                </a:cubicBezTo>
                <a:cubicBezTo>
                  <a:pt x="4580" y="4484"/>
                  <a:pt x="4580" y="4479"/>
                  <a:pt x="4581" y="4470"/>
                </a:cubicBezTo>
                <a:cubicBezTo>
                  <a:pt x="4581" y="4427"/>
                  <a:pt x="4582" y="4295"/>
                  <a:pt x="4527" y="4134"/>
                </a:cubicBezTo>
                <a:close/>
                <a:moveTo>
                  <a:pt x="4276" y="3746"/>
                </a:moveTo>
                <a:cubicBezTo>
                  <a:pt x="4274" y="3745"/>
                  <a:pt x="4274" y="3745"/>
                  <a:pt x="4274" y="3745"/>
                </a:cubicBezTo>
                <a:cubicBezTo>
                  <a:pt x="4222" y="3695"/>
                  <a:pt x="4180" y="3662"/>
                  <a:pt x="4120" y="3625"/>
                </a:cubicBezTo>
                <a:cubicBezTo>
                  <a:pt x="4106" y="3616"/>
                  <a:pt x="4106" y="3616"/>
                  <a:pt x="4106" y="3616"/>
                </a:cubicBezTo>
                <a:cubicBezTo>
                  <a:pt x="4634" y="3616"/>
                  <a:pt x="4634" y="3616"/>
                  <a:pt x="4634" y="3616"/>
                </a:cubicBezTo>
                <a:cubicBezTo>
                  <a:pt x="4634" y="3657"/>
                  <a:pt x="4634" y="3657"/>
                  <a:pt x="4634" y="3657"/>
                </a:cubicBezTo>
                <a:lnTo>
                  <a:pt x="4276" y="3746"/>
                </a:lnTo>
                <a:close/>
                <a:moveTo>
                  <a:pt x="4485" y="4828"/>
                </a:moveTo>
                <a:cubicBezTo>
                  <a:pt x="4485" y="4882"/>
                  <a:pt x="4447" y="4910"/>
                  <a:pt x="4419" y="4930"/>
                </a:cubicBezTo>
                <a:cubicBezTo>
                  <a:pt x="4406" y="4941"/>
                  <a:pt x="4406" y="4941"/>
                  <a:pt x="4406" y="4941"/>
                </a:cubicBezTo>
                <a:cubicBezTo>
                  <a:pt x="4406" y="4718"/>
                  <a:pt x="4406" y="4718"/>
                  <a:pt x="4406" y="4718"/>
                </a:cubicBezTo>
                <a:cubicBezTo>
                  <a:pt x="4413" y="4722"/>
                  <a:pt x="4413" y="4722"/>
                  <a:pt x="4413" y="4722"/>
                </a:cubicBezTo>
                <a:cubicBezTo>
                  <a:pt x="4458" y="4748"/>
                  <a:pt x="4485" y="4787"/>
                  <a:pt x="4485" y="4828"/>
                </a:cubicBezTo>
                <a:close/>
                <a:moveTo>
                  <a:pt x="5957" y="3935"/>
                </a:moveTo>
                <a:cubicBezTo>
                  <a:pt x="5959" y="3933"/>
                  <a:pt x="5959" y="3933"/>
                  <a:pt x="5959" y="3933"/>
                </a:cubicBezTo>
                <a:cubicBezTo>
                  <a:pt x="6017" y="3947"/>
                  <a:pt x="6017" y="3947"/>
                  <a:pt x="6017" y="3947"/>
                </a:cubicBezTo>
                <a:cubicBezTo>
                  <a:pt x="6017" y="3951"/>
                  <a:pt x="6017" y="3951"/>
                  <a:pt x="6017" y="3951"/>
                </a:cubicBezTo>
                <a:cubicBezTo>
                  <a:pt x="6008" y="4247"/>
                  <a:pt x="5944" y="4434"/>
                  <a:pt x="5835" y="4479"/>
                </a:cubicBezTo>
                <a:cubicBezTo>
                  <a:pt x="5813" y="4489"/>
                  <a:pt x="5789" y="4493"/>
                  <a:pt x="5764" y="4493"/>
                </a:cubicBezTo>
                <a:cubicBezTo>
                  <a:pt x="5643" y="4493"/>
                  <a:pt x="5493" y="4400"/>
                  <a:pt x="5406" y="4337"/>
                </a:cubicBezTo>
                <a:cubicBezTo>
                  <a:pt x="5398" y="4331"/>
                  <a:pt x="5398" y="4331"/>
                  <a:pt x="5398" y="4331"/>
                </a:cubicBezTo>
                <a:cubicBezTo>
                  <a:pt x="5408" y="4328"/>
                  <a:pt x="5408" y="4328"/>
                  <a:pt x="5408" y="4328"/>
                </a:cubicBezTo>
                <a:cubicBezTo>
                  <a:pt x="5631" y="4266"/>
                  <a:pt x="5821" y="4131"/>
                  <a:pt x="5957" y="3935"/>
                </a:cubicBezTo>
                <a:close/>
                <a:moveTo>
                  <a:pt x="5746" y="3880"/>
                </a:moveTo>
                <a:cubicBezTo>
                  <a:pt x="5741" y="3886"/>
                  <a:pt x="5741" y="3886"/>
                  <a:pt x="5741" y="3886"/>
                </a:cubicBezTo>
                <a:cubicBezTo>
                  <a:pt x="5592" y="4060"/>
                  <a:pt x="5381" y="4159"/>
                  <a:pt x="5161" y="4159"/>
                </a:cubicBezTo>
                <a:cubicBezTo>
                  <a:pt x="4941" y="4159"/>
                  <a:pt x="4729" y="4060"/>
                  <a:pt x="4580" y="3886"/>
                </a:cubicBezTo>
                <a:cubicBezTo>
                  <a:pt x="4575" y="3880"/>
                  <a:pt x="4575" y="3880"/>
                  <a:pt x="4575" y="3880"/>
                </a:cubicBezTo>
                <a:cubicBezTo>
                  <a:pt x="4720" y="3844"/>
                  <a:pt x="4720" y="3844"/>
                  <a:pt x="4720" y="3844"/>
                </a:cubicBezTo>
                <a:cubicBezTo>
                  <a:pt x="4726" y="3842"/>
                  <a:pt x="4732" y="3840"/>
                  <a:pt x="4737" y="3838"/>
                </a:cubicBezTo>
                <a:cubicBezTo>
                  <a:pt x="4797" y="3811"/>
                  <a:pt x="4836" y="3741"/>
                  <a:pt x="4836" y="3661"/>
                </a:cubicBezTo>
                <a:cubicBezTo>
                  <a:pt x="4836" y="3457"/>
                  <a:pt x="4836" y="3457"/>
                  <a:pt x="4836" y="3457"/>
                </a:cubicBezTo>
                <a:cubicBezTo>
                  <a:pt x="4842" y="3459"/>
                  <a:pt x="4842" y="3459"/>
                  <a:pt x="4842" y="3459"/>
                </a:cubicBezTo>
                <a:cubicBezTo>
                  <a:pt x="5050" y="3518"/>
                  <a:pt x="5253" y="3518"/>
                  <a:pt x="5480" y="3460"/>
                </a:cubicBezTo>
                <a:cubicBezTo>
                  <a:pt x="5486" y="3458"/>
                  <a:pt x="5486" y="3458"/>
                  <a:pt x="5486" y="3458"/>
                </a:cubicBezTo>
                <a:cubicBezTo>
                  <a:pt x="5486" y="3661"/>
                  <a:pt x="5486" y="3661"/>
                  <a:pt x="5486" y="3661"/>
                </a:cubicBezTo>
                <a:cubicBezTo>
                  <a:pt x="5486" y="3741"/>
                  <a:pt x="5524" y="3811"/>
                  <a:pt x="5584" y="3838"/>
                </a:cubicBezTo>
                <a:cubicBezTo>
                  <a:pt x="5590" y="3840"/>
                  <a:pt x="5595" y="3842"/>
                  <a:pt x="5602" y="3844"/>
                </a:cubicBezTo>
                <a:lnTo>
                  <a:pt x="5746" y="3880"/>
                </a:lnTo>
                <a:close/>
                <a:moveTo>
                  <a:pt x="5161" y="3300"/>
                </a:moveTo>
                <a:cubicBezTo>
                  <a:pt x="4978" y="3300"/>
                  <a:pt x="4796" y="3250"/>
                  <a:pt x="4638" y="3147"/>
                </a:cubicBezTo>
                <a:cubicBezTo>
                  <a:pt x="4617" y="3133"/>
                  <a:pt x="4480" y="3018"/>
                  <a:pt x="4457" y="2996"/>
                </a:cubicBezTo>
                <a:cubicBezTo>
                  <a:pt x="4176" y="2684"/>
                  <a:pt x="4182" y="2389"/>
                  <a:pt x="4191" y="1982"/>
                </a:cubicBezTo>
                <a:cubicBezTo>
                  <a:pt x="4193" y="1901"/>
                  <a:pt x="4195" y="1817"/>
                  <a:pt x="4195" y="1726"/>
                </a:cubicBezTo>
                <a:cubicBezTo>
                  <a:pt x="4195" y="1723"/>
                  <a:pt x="4195" y="1723"/>
                  <a:pt x="4195" y="1723"/>
                </a:cubicBezTo>
                <a:cubicBezTo>
                  <a:pt x="4199" y="1722"/>
                  <a:pt x="4199" y="1722"/>
                  <a:pt x="4199" y="1722"/>
                </a:cubicBezTo>
                <a:cubicBezTo>
                  <a:pt x="4333" y="1693"/>
                  <a:pt x="4531" y="1618"/>
                  <a:pt x="4712" y="1429"/>
                </a:cubicBezTo>
                <a:cubicBezTo>
                  <a:pt x="4716" y="1425"/>
                  <a:pt x="4716" y="1425"/>
                  <a:pt x="4716" y="1425"/>
                </a:cubicBezTo>
                <a:cubicBezTo>
                  <a:pt x="4719" y="1429"/>
                  <a:pt x="4719" y="1429"/>
                  <a:pt x="4719" y="1429"/>
                </a:cubicBezTo>
                <a:cubicBezTo>
                  <a:pt x="4873" y="1615"/>
                  <a:pt x="5318" y="2051"/>
                  <a:pt x="6126" y="2086"/>
                </a:cubicBezTo>
                <a:cubicBezTo>
                  <a:pt x="6131" y="2086"/>
                  <a:pt x="6131" y="2086"/>
                  <a:pt x="6131" y="2086"/>
                </a:cubicBezTo>
                <a:cubicBezTo>
                  <a:pt x="6131" y="2090"/>
                  <a:pt x="6131" y="2090"/>
                  <a:pt x="6131" y="2090"/>
                </a:cubicBezTo>
                <a:cubicBezTo>
                  <a:pt x="6130" y="2213"/>
                  <a:pt x="6131" y="2273"/>
                  <a:pt x="6131" y="2305"/>
                </a:cubicBezTo>
                <a:cubicBezTo>
                  <a:pt x="6131" y="2346"/>
                  <a:pt x="6131" y="2346"/>
                  <a:pt x="6130" y="2374"/>
                </a:cubicBezTo>
                <a:cubicBezTo>
                  <a:pt x="6130" y="2378"/>
                  <a:pt x="6130" y="2378"/>
                  <a:pt x="6130" y="2378"/>
                </a:cubicBezTo>
                <a:cubicBezTo>
                  <a:pt x="6128" y="2383"/>
                  <a:pt x="6128" y="2392"/>
                  <a:pt x="6127" y="2406"/>
                </a:cubicBezTo>
                <a:cubicBezTo>
                  <a:pt x="6119" y="2504"/>
                  <a:pt x="6095" y="2805"/>
                  <a:pt x="5783" y="3077"/>
                </a:cubicBezTo>
                <a:cubicBezTo>
                  <a:pt x="5782" y="3078"/>
                  <a:pt x="5778" y="3081"/>
                  <a:pt x="5775" y="3084"/>
                </a:cubicBezTo>
                <a:cubicBezTo>
                  <a:pt x="5770" y="3087"/>
                  <a:pt x="5770" y="3087"/>
                  <a:pt x="5770" y="3087"/>
                </a:cubicBezTo>
                <a:cubicBezTo>
                  <a:pt x="5596" y="3229"/>
                  <a:pt x="5378" y="3300"/>
                  <a:pt x="5161" y="3300"/>
                </a:cubicBezTo>
                <a:close/>
                <a:moveTo>
                  <a:pt x="3861" y="1323"/>
                </a:moveTo>
                <a:cubicBezTo>
                  <a:pt x="3923" y="942"/>
                  <a:pt x="4089" y="712"/>
                  <a:pt x="4341" y="656"/>
                </a:cubicBezTo>
                <a:cubicBezTo>
                  <a:pt x="4341" y="656"/>
                  <a:pt x="4341" y="656"/>
                  <a:pt x="4341" y="656"/>
                </a:cubicBezTo>
                <a:cubicBezTo>
                  <a:pt x="4370" y="650"/>
                  <a:pt x="4395" y="631"/>
                  <a:pt x="4409" y="604"/>
                </a:cubicBezTo>
                <a:cubicBezTo>
                  <a:pt x="4420" y="584"/>
                  <a:pt x="4685" y="111"/>
                  <a:pt x="5518" y="274"/>
                </a:cubicBezTo>
                <a:cubicBezTo>
                  <a:pt x="5848" y="337"/>
                  <a:pt x="6357" y="737"/>
                  <a:pt x="6451" y="1326"/>
                </a:cubicBezTo>
                <a:cubicBezTo>
                  <a:pt x="6471" y="1423"/>
                  <a:pt x="6469" y="1601"/>
                  <a:pt x="6468" y="1732"/>
                </a:cubicBezTo>
                <a:cubicBezTo>
                  <a:pt x="6468" y="1758"/>
                  <a:pt x="6468" y="1783"/>
                  <a:pt x="6468" y="1803"/>
                </a:cubicBezTo>
                <a:cubicBezTo>
                  <a:pt x="6468" y="1903"/>
                  <a:pt x="6468" y="1903"/>
                  <a:pt x="6468" y="1903"/>
                </a:cubicBezTo>
                <a:cubicBezTo>
                  <a:pt x="6415" y="2793"/>
                  <a:pt x="6415" y="2793"/>
                  <a:pt x="6415" y="2793"/>
                </a:cubicBezTo>
                <a:cubicBezTo>
                  <a:pt x="6384" y="3322"/>
                  <a:pt x="6383" y="3343"/>
                  <a:pt x="6383" y="3345"/>
                </a:cubicBezTo>
                <a:cubicBezTo>
                  <a:pt x="6383" y="3383"/>
                  <a:pt x="6351" y="3414"/>
                  <a:pt x="6314" y="3414"/>
                </a:cubicBezTo>
                <a:cubicBezTo>
                  <a:pt x="5687" y="3414"/>
                  <a:pt x="5687" y="3414"/>
                  <a:pt x="5687" y="3414"/>
                </a:cubicBezTo>
                <a:cubicBezTo>
                  <a:pt x="5687" y="3380"/>
                  <a:pt x="5687" y="3380"/>
                  <a:pt x="5687" y="3380"/>
                </a:cubicBezTo>
                <a:cubicBezTo>
                  <a:pt x="5689" y="3378"/>
                  <a:pt x="5689" y="3378"/>
                  <a:pt x="5689" y="3378"/>
                </a:cubicBezTo>
                <a:cubicBezTo>
                  <a:pt x="5694" y="3375"/>
                  <a:pt x="5701" y="3371"/>
                  <a:pt x="5712" y="3365"/>
                </a:cubicBezTo>
                <a:cubicBezTo>
                  <a:pt x="5783" y="3326"/>
                  <a:pt x="5998" y="3208"/>
                  <a:pt x="6158" y="2949"/>
                </a:cubicBezTo>
                <a:cubicBezTo>
                  <a:pt x="6338" y="2658"/>
                  <a:pt x="6335" y="2409"/>
                  <a:pt x="6333" y="2167"/>
                </a:cubicBezTo>
                <a:cubicBezTo>
                  <a:pt x="6333" y="2138"/>
                  <a:pt x="6332" y="2108"/>
                  <a:pt x="6332" y="2079"/>
                </a:cubicBezTo>
                <a:cubicBezTo>
                  <a:pt x="6332" y="1974"/>
                  <a:pt x="6251" y="1889"/>
                  <a:pt x="6146" y="1884"/>
                </a:cubicBezTo>
                <a:cubicBezTo>
                  <a:pt x="5361" y="1855"/>
                  <a:pt x="4958" y="1409"/>
                  <a:pt x="4853" y="1273"/>
                </a:cubicBezTo>
                <a:cubicBezTo>
                  <a:pt x="4821" y="1233"/>
                  <a:pt x="4774" y="1209"/>
                  <a:pt x="4723" y="1207"/>
                </a:cubicBezTo>
                <a:cubicBezTo>
                  <a:pt x="4671" y="1205"/>
                  <a:pt x="4623" y="1226"/>
                  <a:pt x="4589" y="1264"/>
                </a:cubicBezTo>
                <a:cubicBezTo>
                  <a:pt x="4424" y="1451"/>
                  <a:pt x="4237" y="1509"/>
                  <a:pt x="4140" y="1528"/>
                </a:cubicBezTo>
                <a:cubicBezTo>
                  <a:pt x="4055" y="1544"/>
                  <a:pt x="3993" y="1619"/>
                  <a:pt x="3993" y="1705"/>
                </a:cubicBezTo>
                <a:cubicBezTo>
                  <a:pt x="3994" y="1971"/>
                  <a:pt x="3993" y="2125"/>
                  <a:pt x="3993" y="2217"/>
                </a:cubicBezTo>
                <a:cubicBezTo>
                  <a:pt x="3993" y="2351"/>
                  <a:pt x="3993" y="2351"/>
                  <a:pt x="3994" y="2378"/>
                </a:cubicBezTo>
                <a:cubicBezTo>
                  <a:pt x="3994" y="2380"/>
                  <a:pt x="3994" y="2380"/>
                  <a:pt x="3994" y="2380"/>
                </a:cubicBezTo>
                <a:cubicBezTo>
                  <a:pt x="3997" y="2780"/>
                  <a:pt x="4265" y="3199"/>
                  <a:pt x="4632" y="3376"/>
                </a:cubicBezTo>
                <a:cubicBezTo>
                  <a:pt x="4634" y="3377"/>
                  <a:pt x="4634" y="3377"/>
                  <a:pt x="4634" y="3377"/>
                </a:cubicBezTo>
                <a:cubicBezTo>
                  <a:pt x="4634" y="3414"/>
                  <a:pt x="4634" y="3414"/>
                  <a:pt x="4634" y="3414"/>
                </a:cubicBezTo>
                <a:cubicBezTo>
                  <a:pt x="3999" y="3414"/>
                  <a:pt x="3999" y="3414"/>
                  <a:pt x="3999" y="3414"/>
                </a:cubicBezTo>
                <a:cubicBezTo>
                  <a:pt x="3961" y="3414"/>
                  <a:pt x="3930" y="3383"/>
                  <a:pt x="3930" y="3346"/>
                </a:cubicBezTo>
                <a:cubicBezTo>
                  <a:pt x="3930" y="3344"/>
                  <a:pt x="3929" y="3334"/>
                  <a:pt x="3920" y="3179"/>
                </a:cubicBezTo>
                <a:cubicBezTo>
                  <a:pt x="3910" y="3005"/>
                  <a:pt x="3889" y="2645"/>
                  <a:pt x="3845" y="1901"/>
                </a:cubicBezTo>
                <a:cubicBezTo>
                  <a:pt x="3844" y="1895"/>
                  <a:pt x="3844" y="1895"/>
                  <a:pt x="3844" y="1895"/>
                </a:cubicBezTo>
                <a:cubicBezTo>
                  <a:pt x="3844" y="1892"/>
                  <a:pt x="3814" y="1614"/>
                  <a:pt x="3861" y="1323"/>
                </a:cubicBezTo>
                <a:close/>
                <a:moveTo>
                  <a:pt x="2822" y="4493"/>
                </a:moveTo>
                <a:cubicBezTo>
                  <a:pt x="2822" y="4447"/>
                  <a:pt x="2822" y="4429"/>
                  <a:pt x="2823" y="4422"/>
                </a:cubicBezTo>
                <a:cubicBezTo>
                  <a:pt x="2822" y="4422"/>
                  <a:pt x="2822" y="4422"/>
                  <a:pt x="2822" y="4422"/>
                </a:cubicBezTo>
                <a:cubicBezTo>
                  <a:pt x="2835" y="4121"/>
                  <a:pt x="3017" y="3860"/>
                  <a:pt x="3297" y="3741"/>
                </a:cubicBezTo>
                <a:cubicBezTo>
                  <a:pt x="3576" y="3622"/>
                  <a:pt x="3890" y="3673"/>
                  <a:pt x="4116" y="3873"/>
                </a:cubicBezTo>
                <a:cubicBezTo>
                  <a:pt x="4117" y="3873"/>
                  <a:pt x="4118" y="3874"/>
                  <a:pt x="4118" y="3874"/>
                </a:cubicBezTo>
                <a:cubicBezTo>
                  <a:pt x="4247" y="3989"/>
                  <a:pt x="4330" y="4135"/>
                  <a:pt x="4365" y="4309"/>
                </a:cubicBezTo>
                <a:cubicBezTo>
                  <a:pt x="4380" y="4386"/>
                  <a:pt x="4379" y="4451"/>
                  <a:pt x="4379" y="4479"/>
                </a:cubicBezTo>
                <a:cubicBezTo>
                  <a:pt x="4379" y="4486"/>
                  <a:pt x="4379" y="4490"/>
                  <a:pt x="4379" y="4493"/>
                </a:cubicBezTo>
                <a:cubicBezTo>
                  <a:pt x="4380" y="4507"/>
                  <a:pt x="4380" y="4507"/>
                  <a:pt x="4380" y="4507"/>
                </a:cubicBezTo>
                <a:cubicBezTo>
                  <a:pt x="4371" y="4496"/>
                  <a:pt x="4371" y="4496"/>
                  <a:pt x="4371" y="4496"/>
                </a:cubicBezTo>
                <a:cubicBezTo>
                  <a:pt x="4340" y="4458"/>
                  <a:pt x="4305" y="4448"/>
                  <a:pt x="4286" y="4442"/>
                </a:cubicBezTo>
                <a:cubicBezTo>
                  <a:pt x="4283" y="4442"/>
                  <a:pt x="4281" y="4441"/>
                  <a:pt x="4279" y="4440"/>
                </a:cubicBezTo>
                <a:cubicBezTo>
                  <a:pt x="4232" y="4425"/>
                  <a:pt x="4141" y="4378"/>
                  <a:pt x="4064" y="4231"/>
                </a:cubicBezTo>
                <a:cubicBezTo>
                  <a:pt x="4038" y="4180"/>
                  <a:pt x="3989" y="4150"/>
                  <a:pt x="3932" y="4150"/>
                </a:cubicBezTo>
                <a:cubicBezTo>
                  <a:pt x="3931" y="4150"/>
                  <a:pt x="3930" y="4150"/>
                  <a:pt x="3929" y="4150"/>
                </a:cubicBezTo>
                <a:cubicBezTo>
                  <a:pt x="3872" y="4151"/>
                  <a:pt x="3821" y="4184"/>
                  <a:pt x="3796" y="4236"/>
                </a:cubicBezTo>
                <a:cubicBezTo>
                  <a:pt x="3734" y="4367"/>
                  <a:pt x="3450" y="4595"/>
                  <a:pt x="2969" y="4464"/>
                </a:cubicBezTo>
                <a:cubicBezTo>
                  <a:pt x="2924" y="4451"/>
                  <a:pt x="2875" y="4463"/>
                  <a:pt x="2840" y="4495"/>
                </a:cubicBezTo>
                <a:cubicBezTo>
                  <a:pt x="2839" y="4496"/>
                  <a:pt x="2839" y="4496"/>
                  <a:pt x="2839" y="4496"/>
                </a:cubicBezTo>
                <a:cubicBezTo>
                  <a:pt x="2837" y="4496"/>
                  <a:pt x="2837" y="4496"/>
                  <a:pt x="2837" y="4496"/>
                </a:cubicBezTo>
                <a:cubicBezTo>
                  <a:pt x="2835" y="4497"/>
                  <a:pt x="2832" y="4497"/>
                  <a:pt x="2829" y="4498"/>
                </a:cubicBezTo>
                <a:cubicBezTo>
                  <a:pt x="2822" y="4499"/>
                  <a:pt x="2822" y="4499"/>
                  <a:pt x="2822" y="4499"/>
                </a:cubicBezTo>
                <a:lnTo>
                  <a:pt x="2822" y="4493"/>
                </a:lnTo>
                <a:close/>
                <a:moveTo>
                  <a:pt x="2788" y="4722"/>
                </a:moveTo>
                <a:cubicBezTo>
                  <a:pt x="2795" y="4718"/>
                  <a:pt x="2795" y="4718"/>
                  <a:pt x="2795" y="4718"/>
                </a:cubicBezTo>
                <a:cubicBezTo>
                  <a:pt x="2795" y="4939"/>
                  <a:pt x="2795" y="4939"/>
                  <a:pt x="2795" y="4939"/>
                </a:cubicBezTo>
                <a:cubicBezTo>
                  <a:pt x="2788" y="4935"/>
                  <a:pt x="2788" y="4935"/>
                  <a:pt x="2788" y="4935"/>
                </a:cubicBezTo>
                <a:cubicBezTo>
                  <a:pt x="2743" y="4909"/>
                  <a:pt x="2716" y="4870"/>
                  <a:pt x="2716" y="4829"/>
                </a:cubicBezTo>
                <a:cubicBezTo>
                  <a:pt x="2717" y="4787"/>
                  <a:pt x="2743" y="4747"/>
                  <a:pt x="2788" y="4722"/>
                </a:cubicBezTo>
                <a:close/>
                <a:moveTo>
                  <a:pt x="2639" y="3854"/>
                </a:moveTo>
                <a:cubicBezTo>
                  <a:pt x="2635" y="3859"/>
                  <a:pt x="2635" y="3859"/>
                  <a:pt x="2635" y="3859"/>
                </a:cubicBezTo>
                <a:cubicBezTo>
                  <a:pt x="2346" y="4229"/>
                  <a:pt x="2346" y="4229"/>
                  <a:pt x="2346" y="4229"/>
                </a:cubicBezTo>
                <a:cubicBezTo>
                  <a:pt x="2185" y="4067"/>
                  <a:pt x="2185" y="4067"/>
                  <a:pt x="2185" y="4067"/>
                </a:cubicBezTo>
                <a:cubicBezTo>
                  <a:pt x="2488" y="3782"/>
                  <a:pt x="2488" y="3782"/>
                  <a:pt x="2488" y="3782"/>
                </a:cubicBezTo>
                <a:lnTo>
                  <a:pt x="2639" y="3854"/>
                </a:lnTo>
                <a:close/>
                <a:moveTo>
                  <a:pt x="2041" y="3926"/>
                </a:moveTo>
                <a:cubicBezTo>
                  <a:pt x="2037" y="3923"/>
                  <a:pt x="2037" y="3923"/>
                  <a:pt x="2037" y="3923"/>
                </a:cubicBezTo>
                <a:cubicBezTo>
                  <a:pt x="1718" y="3622"/>
                  <a:pt x="1718" y="3622"/>
                  <a:pt x="1718" y="3622"/>
                </a:cubicBezTo>
                <a:cubicBezTo>
                  <a:pt x="1718" y="3458"/>
                  <a:pt x="1718" y="3458"/>
                  <a:pt x="1718" y="3458"/>
                </a:cubicBezTo>
                <a:cubicBezTo>
                  <a:pt x="1725" y="3460"/>
                  <a:pt x="1725" y="3460"/>
                  <a:pt x="1725" y="3460"/>
                </a:cubicBezTo>
                <a:cubicBezTo>
                  <a:pt x="1931" y="3518"/>
                  <a:pt x="2151" y="3518"/>
                  <a:pt x="2360" y="3459"/>
                </a:cubicBezTo>
                <a:cubicBezTo>
                  <a:pt x="2366" y="3458"/>
                  <a:pt x="2366" y="3458"/>
                  <a:pt x="2366" y="3458"/>
                </a:cubicBezTo>
                <a:cubicBezTo>
                  <a:pt x="2366" y="3620"/>
                  <a:pt x="2366" y="3620"/>
                  <a:pt x="2366" y="3620"/>
                </a:cubicBezTo>
                <a:cubicBezTo>
                  <a:pt x="2364" y="3621"/>
                  <a:pt x="2364" y="3621"/>
                  <a:pt x="2364" y="3621"/>
                </a:cubicBezTo>
                <a:lnTo>
                  <a:pt x="2041" y="3926"/>
                </a:lnTo>
                <a:close/>
                <a:moveTo>
                  <a:pt x="3341" y="1960"/>
                </a:moveTo>
                <a:cubicBezTo>
                  <a:pt x="3341" y="2026"/>
                  <a:pt x="3295" y="2085"/>
                  <a:pt x="3217" y="2117"/>
                </a:cubicBezTo>
                <a:cubicBezTo>
                  <a:pt x="3210" y="2120"/>
                  <a:pt x="3210" y="2120"/>
                  <a:pt x="3210" y="2120"/>
                </a:cubicBezTo>
                <a:cubicBezTo>
                  <a:pt x="3210" y="1801"/>
                  <a:pt x="3210" y="1801"/>
                  <a:pt x="3210" y="1801"/>
                </a:cubicBezTo>
                <a:cubicBezTo>
                  <a:pt x="3217" y="1804"/>
                  <a:pt x="3217" y="1804"/>
                  <a:pt x="3217" y="1804"/>
                </a:cubicBezTo>
                <a:cubicBezTo>
                  <a:pt x="3294" y="1836"/>
                  <a:pt x="3341" y="1894"/>
                  <a:pt x="3341" y="1960"/>
                </a:cubicBezTo>
                <a:close/>
                <a:moveTo>
                  <a:pt x="871" y="2120"/>
                </a:moveTo>
                <a:cubicBezTo>
                  <a:pt x="865" y="2117"/>
                  <a:pt x="865" y="2117"/>
                  <a:pt x="865" y="2117"/>
                </a:cubicBezTo>
                <a:cubicBezTo>
                  <a:pt x="787" y="2085"/>
                  <a:pt x="741" y="2026"/>
                  <a:pt x="741" y="1960"/>
                </a:cubicBezTo>
                <a:cubicBezTo>
                  <a:pt x="741" y="1894"/>
                  <a:pt x="787" y="1836"/>
                  <a:pt x="865" y="1804"/>
                </a:cubicBezTo>
                <a:cubicBezTo>
                  <a:pt x="871" y="1801"/>
                  <a:pt x="871" y="1801"/>
                  <a:pt x="871" y="1801"/>
                </a:cubicBezTo>
                <a:lnTo>
                  <a:pt x="871" y="2120"/>
                </a:lnTo>
                <a:close/>
                <a:moveTo>
                  <a:pt x="969" y="1574"/>
                </a:moveTo>
                <a:cubicBezTo>
                  <a:pt x="966" y="1577"/>
                  <a:pt x="962" y="1579"/>
                  <a:pt x="961" y="1580"/>
                </a:cubicBezTo>
                <a:cubicBezTo>
                  <a:pt x="960" y="1581"/>
                  <a:pt x="960" y="1581"/>
                  <a:pt x="960" y="1581"/>
                </a:cubicBezTo>
                <a:cubicBezTo>
                  <a:pt x="958" y="1581"/>
                  <a:pt x="958" y="1581"/>
                  <a:pt x="958" y="1581"/>
                </a:cubicBezTo>
                <a:cubicBezTo>
                  <a:pt x="909" y="1583"/>
                  <a:pt x="860" y="1591"/>
                  <a:pt x="813" y="1607"/>
                </a:cubicBezTo>
                <a:cubicBezTo>
                  <a:pt x="807" y="1610"/>
                  <a:pt x="807" y="1610"/>
                  <a:pt x="807" y="1610"/>
                </a:cubicBezTo>
                <a:cubicBezTo>
                  <a:pt x="807" y="1603"/>
                  <a:pt x="807" y="1603"/>
                  <a:pt x="807" y="1603"/>
                </a:cubicBezTo>
                <a:cubicBezTo>
                  <a:pt x="807" y="1580"/>
                  <a:pt x="807" y="1558"/>
                  <a:pt x="807" y="1535"/>
                </a:cubicBezTo>
                <a:cubicBezTo>
                  <a:pt x="806" y="1450"/>
                  <a:pt x="806" y="1361"/>
                  <a:pt x="829" y="1241"/>
                </a:cubicBezTo>
                <a:cubicBezTo>
                  <a:pt x="830" y="1237"/>
                  <a:pt x="832" y="1228"/>
                  <a:pt x="835" y="1216"/>
                </a:cubicBezTo>
                <a:cubicBezTo>
                  <a:pt x="896" y="949"/>
                  <a:pt x="1026" y="725"/>
                  <a:pt x="1221" y="551"/>
                </a:cubicBezTo>
                <a:cubicBezTo>
                  <a:pt x="1229" y="545"/>
                  <a:pt x="1238" y="538"/>
                  <a:pt x="1248" y="529"/>
                </a:cubicBezTo>
                <a:cubicBezTo>
                  <a:pt x="1294" y="490"/>
                  <a:pt x="1372" y="424"/>
                  <a:pt x="1529" y="351"/>
                </a:cubicBezTo>
                <a:cubicBezTo>
                  <a:pt x="1972" y="148"/>
                  <a:pt x="2470" y="223"/>
                  <a:pt x="2860" y="551"/>
                </a:cubicBezTo>
                <a:cubicBezTo>
                  <a:pt x="3112" y="775"/>
                  <a:pt x="3192" y="1026"/>
                  <a:pt x="3222" y="1120"/>
                </a:cubicBezTo>
                <a:cubicBezTo>
                  <a:pt x="3226" y="1133"/>
                  <a:pt x="3229" y="1143"/>
                  <a:pt x="3232" y="1150"/>
                </a:cubicBezTo>
                <a:cubicBezTo>
                  <a:pt x="3277" y="1318"/>
                  <a:pt x="3276" y="1449"/>
                  <a:pt x="3274" y="1536"/>
                </a:cubicBezTo>
                <a:cubicBezTo>
                  <a:pt x="3274" y="1562"/>
                  <a:pt x="3274" y="1584"/>
                  <a:pt x="3275" y="1603"/>
                </a:cubicBezTo>
                <a:cubicBezTo>
                  <a:pt x="3275" y="1610"/>
                  <a:pt x="3275" y="1610"/>
                  <a:pt x="3275" y="1610"/>
                </a:cubicBezTo>
                <a:cubicBezTo>
                  <a:pt x="3268" y="1607"/>
                  <a:pt x="3268" y="1607"/>
                  <a:pt x="3268" y="1607"/>
                </a:cubicBezTo>
                <a:cubicBezTo>
                  <a:pt x="3222" y="1591"/>
                  <a:pt x="3173" y="1583"/>
                  <a:pt x="3124" y="1581"/>
                </a:cubicBezTo>
                <a:cubicBezTo>
                  <a:pt x="3121" y="1581"/>
                  <a:pt x="3121" y="1581"/>
                  <a:pt x="3121" y="1581"/>
                </a:cubicBezTo>
                <a:cubicBezTo>
                  <a:pt x="3096" y="1566"/>
                  <a:pt x="3070" y="1545"/>
                  <a:pt x="3049" y="1522"/>
                </a:cubicBezTo>
                <a:cubicBezTo>
                  <a:pt x="2978" y="1440"/>
                  <a:pt x="2971" y="1368"/>
                  <a:pt x="2964" y="1299"/>
                </a:cubicBezTo>
                <a:cubicBezTo>
                  <a:pt x="2957" y="1230"/>
                  <a:pt x="2951" y="1164"/>
                  <a:pt x="2873" y="1099"/>
                </a:cubicBezTo>
                <a:cubicBezTo>
                  <a:pt x="2783" y="1024"/>
                  <a:pt x="2696" y="1036"/>
                  <a:pt x="2553" y="1058"/>
                </a:cubicBezTo>
                <a:cubicBezTo>
                  <a:pt x="2527" y="1061"/>
                  <a:pt x="2500" y="1065"/>
                  <a:pt x="2471" y="1069"/>
                </a:cubicBezTo>
                <a:cubicBezTo>
                  <a:pt x="2001" y="1120"/>
                  <a:pt x="1728" y="1084"/>
                  <a:pt x="1547" y="1059"/>
                </a:cubicBezTo>
                <a:cubicBezTo>
                  <a:pt x="1380" y="1037"/>
                  <a:pt x="1296" y="1026"/>
                  <a:pt x="1208" y="1099"/>
                </a:cubicBezTo>
                <a:cubicBezTo>
                  <a:pt x="1151" y="1147"/>
                  <a:pt x="1120" y="1213"/>
                  <a:pt x="1118" y="1291"/>
                </a:cubicBezTo>
                <a:cubicBezTo>
                  <a:pt x="1110" y="1489"/>
                  <a:pt x="1004" y="1553"/>
                  <a:pt x="969" y="1574"/>
                </a:cubicBezTo>
                <a:close/>
                <a:moveTo>
                  <a:pt x="1073" y="2334"/>
                </a:moveTo>
                <a:cubicBezTo>
                  <a:pt x="1073" y="1748"/>
                  <a:pt x="1073" y="1748"/>
                  <a:pt x="1073" y="1748"/>
                </a:cubicBezTo>
                <a:cubicBezTo>
                  <a:pt x="1075" y="1747"/>
                  <a:pt x="1075" y="1747"/>
                  <a:pt x="1075" y="1747"/>
                </a:cubicBezTo>
                <a:cubicBezTo>
                  <a:pt x="1156" y="1688"/>
                  <a:pt x="1214" y="1642"/>
                  <a:pt x="1265" y="1533"/>
                </a:cubicBezTo>
                <a:cubicBezTo>
                  <a:pt x="1298" y="1462"/>
                  <a:pt x="1317" y="1380"/>
                  <a:pt x="1319" y="1291"/>
                </a:cubicBezTo>
                <a:cubicBezTo>
                  <a:pt x="1320" y="1276"/>
                  <a:pt x="1327" y="1263"/>
                  <a:pt x="1338" y="1254"/>
                </a:cubicBezTo>
                <a:cubicBezTo>
                  <a:pt x="1349" y="1244"/>
                  <a:pt x="1365" y="1240"/>
                  <a:pt x="1380" y="1242"/>
                </a:cubicBezTo>
                <a:cubicBezTo>
                  <a:pt x="2048" y="1331"/>
                  <a:pt x="2415" y="1280"/>
                  <a:pt x="2591" y="1255"/>
                </a:cubicBezTo>
                <a:cubicBezTo>
                  <a:pt x="2682" y="1243"/>
                  <a:pt x="2727" y="1236"/>
                  <a:pt x="2748" y="1255"/>
                </a:cubicBezTo>
                <a:cubicBezTo>
                  <a:pt x="2757" y="1262"/>
                  <a:pt x="2762" y="1274"/>
                  <a:pt x="2762" y="1291"/>
                </a:cubicBezTo>
                <a:cubicBezTo>
                  <a:pt x="2768" y="1495"/>
                  <a:pt x="2867" y="1621"/>
                  <a:pt x="2898" y="1655"/>
                </a:cubicBezTo>
                <a:cubicBezTo>
                  <a:pt x="2899" y="1657"/>
                  <a:pt x="2900" y="1658"/>
                  <a:pt x="2900" y="1658"/>
                </a:cubicBezTo>
                <a:cubicBezTo>
                  <a:pt x="2933" y="1694"/>
                  <a:pt x="2956" y="1711"/>
                  <a:pt x="2991" y="1735"/>
                </a:cubicBezTo>
                <a:cubicBezTo>
                  <a:pt x="3009" y="1748"/>
                  <a:pt x="3009" y="1748"/>
                  <a:pt x="3009" y="1748"/>
                </a:cubicBezTo>
                <a:cubicBezTo>
                  <a:pt x="3009" y="1898"/>
                  <a:pt x="3009" y="1898"/>
                  <a:pt x="3009" y="1898"/>
                </a:cubicBezTo>
                <a:cubicBezTo>
                  <a:pt x="3009" y="2046"/>
                  <a:pt x="3008" y="2231"/>
                  <a:pt x="3009" y="2239"/>
                </a:cubicBezTo>
                <a:cubicBezTo>
                  <a:pt x="3008" y="2243"/>
                  <a:pt x="3008" y="2253"/>
                  <a:pt x="3008" y="2265"/>
                </a:cubicBezTo>
                <a:cubicBezTo>
                  <a:pt x="3020" y="2794"/>
                  <a:pt x="2730" y="3062"/>
                  <a:pt x="2485" y="3194"/>
                </a:cubicBezTo>
                <a:cubicBezTo>
                  <a:pt x="2481" y="3191"/>
                  <a:pt x="2481" y="3191"/>
                  <a:pt x="2481" y="3191"/>
                </a:cubicBezTo>
                <a:cubicBezTo>
                  <a:pt x="2481" y="3191"/>
                  <a:pt x="2481" y="3191"/>
                  <a:pt x="2481" y="3191"/>
                </a:cubicBezTo>
                <a:cubicBezTo>
                  <a:pt x="2483" y="3195"/>
                  <a:pt x="2483" y="3195"/>
                  <a:pt x="2483" y="3195"/>
                </a:cubicBezTo>
                <a:cubicBezTo>
                  <a:pt x="2456" y="3210"/>
                  <a:pt x="2308" y="3285"/>
                  <a:pt x="2105" y="3299"/>
                </a:cubicBezTo>
                <a:cubicBezTo>
                  <a:pt x="2104" y="3299"/>
                  <a:pt x="2060" y="3302"/>
                  <a:pt x="2027" y="3302"/>
                </a:cubicBezTo>
                <a:cubicBezTo>
                  <a:pt x="2013" y="3302"/>
                  <a:pt x="2001" y="3301"/>
                  <a:pt x="1995" y="3300"/>
                </a:cubicBezTo>
                <a:cubicBezTo>
                  <a:pt x="1995" y="3301"/>
                  <a:pt x="1995" y="3301"/>
                  <a:pt x="1995" y="3301"/>
                </a:cubicBezTo>
                <a:cubicBezTo>
                  <a:pt x="1995" y="3300"/>
                  <a:pt x="1995" y="3300"/>
                  <a:pt x="1995" y="3300"/>
                </a:cubicBezTo>
                <a:cubicBezTo>
                  <a:pt x="1995" y="3300"/>
                  <a:pt x="1995" y="3300"/>
                  <a:pt x="1995" y="3300"/>
                </a:cubicBezTo>
                <a:cubicBezTo>
                  <a:pt x="1995" y="3301"/>
                  <a:pt x="1995" y="3301"/>
                  <a:pt x="1995" y="3301"/>
                </a:cubicBezTo>
                <a:cubicBezTo>
                  <a:pt x="1478" y="3277"/>
                  <a:pt x="1073" y="2852"/>
                  <a:pt x="1073" y="2334"/>
                </a:cubicBezTo>
                <a:close/>
                <a:moveTo>
                  <a:pt x="1595" y="3783"/>
                </a:moveTo>
                <a:cubicBezTo>
                  <a:pt x="1598" y="3786"/>
                  <a:pt x="1598" y="3786"/>
                  <a:pt x="1598" y="3786"/>
                </a:cubicBezTo>
                <a:cubicBezTo>
                  <a:pt x="1896" y="4067"/>
                  <a:pt x="1896" y="4067"/>
                  <a:pt x="1896" y="4067"/>
                </a:cubicBezTo>
                <a:cubicBezTo>
                  <a:pt x="1735" y="4229"/>
                  <a:pt x="1735" y="4229"/>
                  <a:pt x="1735" y="4229"/>
                </a:cubicBezTo>
                <a:cubicBezTo>
                  <a:pt x="1732" y="4225"/>
                  <a:pt x="1732" y="4225"/>
                  <a:pt x="1732" y="4225"/>
                </a:cubicBezTo>
                <a:cubicBezTo>
                  <a:pt x="1444" y="3856"/>
                  <a:pt x="1444" y="3856"/>
                  <a:pt x="1444" y="3856"/>
                </a:cubicBezTo>
                <a:lnTo>
                  <a:pt x="1595" y="3783"/>
                </a:lnTo>
                <a:close/>
                <a:moveTo>
                  <a:pt x="350" y="5384"/>
                </a:moveTo>
                <a:cubicBezTo>
                  <a:pt x="382" y="5134"/>
                  <a:pt x="400" y="4948"/>
                  <a:pt x="415" y="4800"/>
                </a:cubicBezTo>
                <a:cubicBezTo>
                  <a:pt x="451" y="4447"/>
                  <a:pt x="462" y="4341"/>
                  <a:pt x="566" y="4217"/>
                </a:cubicBezTo>
                <a:cubicBezTo>
                  <a:pt x="567" y="4216"/>
                  <a:pt x="567" y="4216"/>
                  <a:pt x="567" y="4216"/>
                </a:cubicBezTo>
                <a:cubicBezTo>
                  <a:pt x="700" y="4059"/>
                  <a:pt x="888" y="4017"/>
                  <a:pt x="1070" y="3976"/>
                </a:cubicBezTo>
                <a:cubicBezTo>
                  <a:pt x="1131" y="3963"/>
                  <a:pt x="1189" y="3950"/>
                  <a:pt x="1244" y="3933"/>
                </a:cubicBezTo>
                <a:cubicBezTo>
                  <a:pt x="1247" y="3932"/>
                  <a:pt x="1247" y="3932"/>
                  <a:pt x="1247" y="3932"/>
                </a:cubicBezTo>
                <a:cubicBezTo>
                  <a:pt x="1250" y="3934"/>
                  <a:pt x="1250" y="3934"/>
                  <a:pt x="1250" y="3934"/>
                </a:cubicBezTo>
                <a:cubicBezTo>
                  <a:pt x="1574" y="4350"/>
                  <a:pt x="1574" y="4350"/>
                  <a:pt x="1574" y="4350"/>
                </a:cubicBezTo>
                <a:cubicBezTo>
                  <a:pt x="1610" y="4397"/>
                  <a:pt x="1665" y="4425"/>
                  <a:pt x="1724" y="4429"/>
                </a:cubicBezTo>
                <a:cubicBezTo>
                  <a:pt x="1782" y="4432"/>
                  <a:pt x="1840" y="4410"/>
                  <a:pt x="1881" y="4368"/>
                </a:cubicBezTo>
                <a:cubicBezTo>
                  <a:pt x="1940" y="4309"/>
                  <a:pt x="1940" y="4309"/>
                  <a:pt x="1940" y="4309"/>
                </a:cubicBezTo>
                <a:cubicBezTo>
                  <a:pt x="1940" y="4832"/>
                  <a:pt x="1940" y="4832"/>
                  <a:pt x="1940" y="4832"/>
                </a:cubicBezTo>
                <a:cubicBezTo>
                  <a:pt x="1940" y="4887"/>
                  <a:pt x="1985" y="4933"/>
                  <a:pt x="2041" y="4933"/>
                </a:cubicBezTo>
                <a:cubicBezTo>
                  <a:pt x="2096" y="4933"/>
                  <a:pt x="2142" y="4887"/>
                  <a:pt x="2142" y="4832"/>
                </a:cubicBezTo>
                <a:cubicBezTo>
                  <a:pt x="2142" y="4309"/>
                  <a:pt x="2142" y="4309"/>
                  <a:pt x="2142" y="4309"/>
                </a:cubicBezTo>
                <a:cubicBezTo>
                  <a:pt x="2200" y="4368"/>
                  <a:pt x="2200" y="4368"/>
                  <a:pt x="2200" y="4368"/>
                </a:cubicBezTo>
                <a:cubicBezTo>
                  <a:pt x="2239" y="4407"/>
                  <a:pt x="2292" y="4429"/>
                  <a:pt x="2346" y="4429"/>
                </a:cubicBezTo>
                <a:cubicBezTo>
                  <a:pt x="2350" y="4428"/>
                  <a:pt x="2354" y="4429"/>
                  <a:pt x="2358" y="4429"/>
                </a:cubicBezTo>
                <a:cubicBezTo>
                  <a:pt x="2417" y="4425"/>
                  <a:pt x="2471" y="4396"/>
                  <a:pt x="2507" y="4350"/>
                </a:cubicBezTo>
                <a:cubicBezTo>
                  <a:pt x="2672" y="4139"/>
                  <a:pt x="2672" y="4139"/>
                  <a:pt x="2672" y="4139"/>
                </a:cubicBezTo>
                <a:cubicBezTo>
                  <a:pt x="2664" y="4164"/>
                  <a:pt x="2664" y="4164"/>
                  <a:pt x="2664" y="4164"/>
                </a:cubicBezTo>
                <a:cubicBezTo>
                  <a:pt x="2617" y="4316"/>
                  <a:pt x="2619" y="4437"/>
                  <a:pt x="2620" y="4526"/>
                </a:cubicBezTo>
                <a:cubicBezTo>
                  <a:pt x="2621" y="4552"/>
                  <a:pt x="2621" y="4575"/>
                  <a:pt x="2620" y="4595"/>
                </a:cubicBezTo>
                <a:cubicBezTo>
                  <a:pt x="2620" y="4597"/>
                  <a:pt x="2620" y="4597"/>
                  <a:pt x="2620" y="4597"/>
                </a:cubicBezTo>
                <a:cubicBezTo>
                  <a:pt x="2618" y="4598"/>
                  <a:pt x="2618" y="4598"/>
                  <a:pt x="2618" y="4598"/>
                </a:cubicBezTo>
                <a:cubicBezTo>
                  <a:pt x="2528" y="4682"/>
                  <a:pt x="2494" y="4795"/>
                  <a:pt x="2525" y="4907"/>
                </a:cubicBezTo>
                <a:cubicBezTo>
                  <a:pt x="2558" y="5029"/>
                  <a:pt x="2665" y="5123"/>
                  <a:pt x="2803" y="5154"/>
                </a:cubicBezTo>
                <a:cubicBezTo>
                  <a:pt x="2806" y="5155"/>
                  <a:pt x="2806" y="5155"/>
                  <a:pt x="2806" y="5155"/>
                </a:cubicBezTo>
                <a:cubicBezTo>
                  <a:pt x="2807" y="5158"/>
                  <a:pt x="2807" y="5158"/>
                  <a:pt x="2807" y="5158"/>
                </a:cubicBezTo>
                <a:cubicBezTo>
                  <a:pt x="2848" y="5402"/>
                  <a:pt x="2998" y="5611"/>
                  <a:pt x="3218" y="5732"/>
                </a:cubicBezTo>
                <a:cubicBezTo>
                  <a:pt x="3221" y="5733"/>
                  <a:pt x="3221" y="5733"/>
                  <a:pt x="3221" y="5733"/>
                </a:cubicBezTo>
                <a:cubicBezTo>
                  <a:pt x="3221" y="5868"/>
                  <a:pt x="3221" y="5868"/>
                  <a:pt x="3221" y="5868"/>
                </a:cubicBezTo>
                <a:cubicBezTo>
                  <a:pt x="3217" y="5869"/>
                  <a:pt x="3217" y="5869"/>
                  <a:pt x="3217" y="5869"/>
                </a:cubicBezTo>
                <a:cubicBezTo>
                  <a:pt x="3149" y="5887"/>
                  <a:pt x="3084" y="5902"/>
                  <a:pt x="3021" y="5917"/>
                </a:cubicBezTo>
                <a:cubicBezTo>
                  <a:pt x="2746" y="5981"/>
                  <a:pt x="2529" y="6031"/>
                  <a:pt x="2422" y="6287"/>
                </a:cubicBezTo>
                <a:cubicBezTo>
                  <a:pt x="2417" y="6300"/>
                  <a:pt x="2413" y="6311"/>
                  <a:pt x="2409" y="6324"/>
                </a:cubicBezTo>
                <a:cubicBezTo>
                  <a:pt x="2409" y="6324"/>
                  <a:pt x="2409" y="6324"/>
                  <a:pt x="2409" y="6324"/>
                </a:cubicBezTo>
                <a:cubicBezTo>
                  <a:pt x="2403" y="6343"/>
                  <a:pt x="2398" y="6363"/>
                  <a:pt x="2395" y="6374"/>
                </a:cubicBezTo>
                <a:cubicBezTo>
                  <a:pt x="2386" y="6422"/>
                  <a:pt x="2382" y="6459"/>
                  <a:pt x="2366" y="6597"/>
                </a:cubicBezTo>
                <a:cubicBezTo>
                  <a:pt x="2356" y="6687"/>
                  <a:pt x="2341" y="6823"/>
                  <a:pt x="2317" y="7033"/>
                </a:cubicBezTo>
                <a:cubicBezTo>
                  <a:pt x="2316" y="7037"/>
                  <a:pt x="2316" y="7037"/>
                  <a:pt x="2316" y="7037"/>
                </a:cubicBezTo>
                <a:cubicBezTo>
                  <a:pt x="1015" y="7037"/>
                  <a:pt x="1015" y="7037"/>
                  <a:pt x="1015" y="7037"/>
                </a:cubicBezTo>
                <a:cubicBezTo>
                  <a:pt x="1015" y="7032"/>
                  <a:pt x="1015" y="7032"/>
                  <a:pt x="1015" y="7032"/>
                </a:cubicBezTo>
                <a:cubicBezTo>
                  <a:pt x="1120" y="5051"/>
                  <a:pt x="1120" y="5051"/>
                  <a:pt x="1120" y="5051"/>
                </a:cubicBezTo>
                <a:cubicBezTo>
                  <a:pt x="1121" y="5024"/>
                  <a:pt x="1112" y="4998"/>
                  <a:pt x="1094" y="4978"/>
                </a:cubicBezTo>
                <a:cubicBezTo>
                  <a:pt x="1076" y="4958"/>
                  <a:pt x="1051" y="4946"/>
                  <a:pt x="1025" y="4945"/>
                </a:cubicBezTo>
                <a:cubicBezTo>
                  <a:pt x="998" y="4944"/>
                  <a:pt x="972" y="4953"/>
                  <a:pt x="952" y="4970"/>
                </a:cubicBezTo>
                <a:cubicBezTo>
                  <a:pt x="932" y="4988"/>
                  <a:pt x="920" y="5013"/>
                  <a:pt x="918" y="5040"/>
                </a:cubicBezTo>
                <a:cubicBezTo>
                  <a:pt x="896" y="5462"/>
                  <a:pt x="896" y="5462"/>
                  <a:pt x="896" y="5462"/>
                </a:cubicBezTo>
                <a:cubicBezTo>
                  <a:pt x="348" y="5405"/>
                  <a:pt x="348" y="5405"/>
                  <a:pt x="348" y="5405"/>
                </a:cubicBezTo>
                <a:lnTo>
                  <a:pt x="350" y="5384"/>
                </a:lnTo>
                <a:close/>
                <a:moveTo>
                  <a:pt x="325" y="5605"/>
                </a:moveTo>
                <a:cubicBezTo>
                  <a:pt x="879" y="5663"/>
                  <a:pt x="879" y="5663"/>
                  <a:pt x="879" y="5663"/>
                </a:cubicBezTo>
                <a:cubicBezTo>
                  <a:pt x="879" y="5668"/>
                  <a:pt x="879" y="5668"/>
                  <a:pt x="879" y="5668"/>
                </a:cubicBezTo>
                <a:cubicBezTo>
                  <a:pt x="810" y="7037"/>
                  <a:pt x="810" y="7037"/>
                  <a:pt x="810" y="7037"/>
                </a:cubicBezTo>
                <a:cubicBezTo>
                  <a:pt x="494" y="7037"/>
                  <a:pt x="494" y="7037"/>
                  <a:pt x="494" y="7037"/>
                </a:cubicBezTo>
                <a:cubicBezTo>
                  <a:pt x="316" y="7037"/>
                  <a:pt x="208" y="6925"/>
                  <a:pt x="204" y="6738"/>
                </a:cubicBezTo>
                <a:cubicBezTo>
                  <a:pt x="203" y="6694"/>
                  <a:pt x="204" y="6685"/>
                  <a:pt x="229" y="6467"/>
                </a:cubicBezTo>
                <a:cubicBezTo>
                  <a:pt x="246" y="6314"/>
                  <a:pt x="276" y="6057"/>
                  <a:pt x="325" y="5610"/>
                </a:cubicBezTo>
                <a:lnTo>
                  <a:pt x="325" y="560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54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508553-CB3F-47AC-B47B-F54A26D783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907" y="1198199"/>
            <a:ext cx="737864" cy="4201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84158D2-A661-8FAA-D26A-04DFF598C2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3404" y="952829"/>
            <a:ext cx="6391075" cy="517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7579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2A396A7-75E2-3164-7B32-083401CAF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A group of people with luggage&#10;&#10;Description automatically generated">
            <a:extLst>
              <a:ext uri="{FF2B5EF4-FFF2-40B4-BE49-F238E27FC236}">
                <a16:creationId xmlns:a16="http://schemas.microsoft.com/office/drawing/2014/main" id="{5EF562BA-817D-0DB1-6F7B-C75E1575ED4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6D7612E-C2C6-C931-1C75-E1D8C13BB15C}"/>
              </a:ext>
            </a:extLst>
          </p:cNvPr>
          <p:cNvSpPr/>
          <p:nvPr/>
        </p:nvSpPr>
        <p:spPr>
          <a:xfrm>
            <a:off x="0" y="0"/>
            <a:ext cx="6724185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CA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150676-9EB9-0F3E-EC97-03E7B5563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797676" cy="715669"/>
          </a:xfrm>
        </p:spPr>
        <p:txBody>
          <a:bodyPr/>
          <a:lstStyle/>
          <a:p>
            <a:r>
              <a:rPr lang="en-CA" dirty="0"/>
              <a:t>IMMIGR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1595FE-C39E-A0D0-57D8-870BE0BF727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A" dirty="0"/>
              <a:t>The Solution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AEBDA9-BFB6-D798-5B23-8BDD68EA7CF5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fld id="{42C674B8-9BBC-4FFF-A23E-570BB0655C41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38478FE7-B6D9-75D9-D421-8969C3C4A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© Ipsos |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Futurecasting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 | November 2024 | Client Use Only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981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16F9CCE-75DF-43F4-D573-0704C0EB8E53}"/>
              </a:ext>
            </a:extLst>
          </p:cNvPr>
          <p:cNvGraphicFramePr/>
          <p:nvPr/>
        </p:nvGraphicFramePr>
        <p:xfrm>
          <a:off x="6679580" y="1635409"/>
          <a:ext cx="4404498" cy="431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69824CF-CCE4-BF18-8C07-3E7FD7E15DC0}"/>
              </a:ext>
            </a:extLst>
          </p:cNvPr>
          <p:cNvGraphicFramePr/>
          <p:nvPr/>
        </p:nvGraphicFramePr>
        <p:xfrm>
          <a:off x="450000" y="1645919"/>
          <a:ext cx="7478517" cy="431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8F5C0D-0C38-853D-0215-36150FB54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ercentage of Canadian Population Foreign Born</a:t>
            </a:r>
          </a:p>
        </p:txBody>
      </p:sp>
    </p:spTree>
    <p:extLst>
      <p:ext uri="{BB962C8B-B14F-4D97-AF65-F5344CB8AC3E}">
        <p14:creationId xmlns:p14="http://schemas.microsoft.com/office/powerpoint/2010/main" val="3165397761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7677583-FC74-4630-9F2A-568B21EF9B1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089" b="13606"/>
          <a:stretch/>
        </p:blipFill>
        <p:spPr>
          <a:xfrm>
            <a:off x="3523488" y="0"/>
            <a:ext cx="8668512" cy="685799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2D6FFFB-C484-B7BF-D4BC-AD07B0C4A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29" y="1452535"/>
            <a:ext cx="7086099" cy="2397316"/>
          </a:xfrm>
        </p:spPr>
        <p:txBody>
          <a:bodyPr vert="horz" wrap="square" lIns="91440" tIns="45720" rIns="91440" bIns="45720" rtlCol="0" anchor="b"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“Demography is Destiny”</a:t>
            </a:r>
            <a:r>
              <a:rPr lang="en-US" sz="3400" dirty="0">
                <a:latin typeface="+mj-lt"/>
              </a:rPr>
              <a:t> </a:t>
            </a:r>
            <a:br>
              <a:rPr lang="en-US" sz="3400" dirty="0">
                <a:latin typeface="+mj-lt"/>
              </a:rPr>
            </a:br>
            <a:br>
              <a:rPr lang="en-US" sz="3400" dirty="0">
                <a:latin typeface="+mj-lt"/>
              </a:rPr>
            </a:br>
            <a:r>
              <a:rPr lang="en-US" sz="2000" dirty="0">
                <a:latin typeface="+mj-lt"/>
              </a:rPr>
              <a:t>Auguste Com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14F21D-94D2-DA31-1567-58A8BD0090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970819" y="6356351"/>
            <a:ext cx="2743200" cy="365125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defTabSz="914377">
              <a:spcAft>
                <a:spcPts val="600"/>
              </a:spcAft>
              <a:defRPr/>
            </a:pPr>
            <a:fld id="{D61AABEC-672F-4B68-B914-690DA978312C}" type="slidenum">
              <a:rPr lang="en-US" b="0">
                <a:solidFill>
                  <a:prstClr val="white"/>
                </a:solidFill>
                <a:latin typeface="Calibri" panose="020F0502020204030204"/>
              </a:rPr>
              <a:pPr defTabSz="914377">
                <a:spcAft>
                  <a:spcPts val="600"/>
                </a:spcAft>
                <a:defRPr/>
              </a:pPr>
              <a:t>4</a:t>
            </a:fld>
            <a:r>
              <a:rPr lang="en-US" b="0">
                <a:solidFill>
                  <a:prstClr val="white"/>
                </a:solidFill>
                <a:latin typeface="Calibri" panose="020F0502020204030204"/>
              </a:rPr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6601859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73184-A57D-E538-648A-59C7273CB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op 10 Countries Of Birth Of </a:t>
            </a:r>
            <a:br>
              <a:rPr lang="en-CA" dirty="0"/>
            </a:br>
            <a:r>
              <a:rPr lang="en-CA" dirty="0"/>
              <a:t>New Permanent Residents To Canada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8D702A-F2D2-4488-A51B-396CB613C7C3}"/>
              </a:ext>
            </a:extLst>
          </p:cNvPr>
          <p:cNvCxnSpPr/>
          <p:nvPr/>
        </p:nvCxnSpPr>
        <p:spPr>
          <a:xfrm>
            <a:off x="450000" y="2419873"/>
            <a:ext cx="5036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A013AE3-B52B-C6C0-F6E0-E266C423C630}"/>
              </a:ext>
            </a:extLst>
          </p:cNvPr>
          <p:cNvSpPr txBox="1"/>
          <p:nvPr/>
        </p:nvSpPr>
        <p:spPr>
          <a:xfrm>
            <a:off x="450000" y="2042160"/>
            <a:ext cx="500137" cy="3167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1970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7A1F416-CB84-249C-2318-AC6D86DE2937}"/>
              </a:ext>
            </a:extLst>
          </p:cNvPr>
          <p:cNvCxnSpPr/>
          <p:nvPr/>
        </p:nvCxnSpPr>
        <p:spPr>
          <a:xfrm>
            <a:off x="6705602" y="2419873"/>
            <a:ext cx="5036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5C3A22F-F2E5-8784-FACC-014ECA08060A}"/>
              </a:ext>
            </a:extLst>
          </p:cNvPr>
          <p:cNvSpPr txBox="1"/>
          <p:nvPr/>
        </p:nvSpPr>
        <p:spPr>
          <a:xfrm>
            <a:off x="6705602" y="2042160"/>
            <a:ext cx="589905" cy="3167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2024</a:t>
            </a: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37E7A90B-044A-A20C-E74A-CDC4E3C09475}"/>
              </a:ext>
            </a:extLst>
          </p:cNvPr>
          <p:cNvGraphicFramePr>
            <a:graphicFrameLocks/>
          </p:cNvGraphicFramePr>
          <p:nvPr/>
        </p:nvGraphicFramePr>
        <p:xfrm>
          <a:off x="450000" y="2480834"/>
          <a:ext cx="5036400" cy="3523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C2E02D39-AD27-13A1-9723-14DC08DA6CCE}"/>
              </a:ext>
            </a:extLst>
          </p:cNvPr>
          <p:cNvGraphicFramePr>
            <a:graphicFrameLocks/>
          </p:cNvGraphicFramePr>
          <p:nvPr/>
        </p:nvGraphicFramePr>
        <p:xfrm>
          <a:off x="6705602" y="2480834"/>
          <a:ext cx="5036400" cy="3523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679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B8585-ADF4-0101-9F65-FAB8B2538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hare Of Population, Share Of Immigrants 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915FE361-A3D0-EE30-D10A-013598BEC856}"/>
              </a:ext>
            </a:extLst>
          </p:cNvPr>
          <p:cNvGraphicFramePr>
            <a:graphicFrameLocks/>
          </p:cNvGraphicFramePr>
          <p:nvPr/>
        </p:nvGraphicFramePr>
        <p:xfrm>
          <a:off x="450000" y="1630680"/>
          <a:ext cx="9699840" cy="4358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8640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8" dirty="0">
                <a:latin typeface="Century Gothic" panose="020B0502020202020204" pitchFamily="34" charset="0"/>
              </a:rPr>
              <a:t>9 OF 10 IMMIGRANTS LIVE IN URBAN CANA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8347">
              <a:defRPr/>
            </a:pPr>
            <a:fld id="{BD3C05EE-9FAA-A243-8636-83F50486E55C}" type="slidenum">
              <a:rPr lang="en-US">
                <a:solidFill>
                  <a:prstClr val="white">
                    <a:lumMod val="50000"/>
                  </a:prstClr>
                </a:solidFill>
              </a:rPr>
              <a:pPr defTabSz="458347">
                <a:defRPr/>
              </a:pPr>
              <a:t>42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graphicFrame>
        <p:nvGraphicFramePr>
          <p:cNvPr id="4" name="Chart 3"/>
          <p:cNvGraphicFramePr/>
          <p:nvPr/>
        </p:nvGraphicFramePr>
        <p:xfrm>
          <a:off x="2857790" y="2819401"/>
          <a:ext cx="6181783" cy="2792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2936887" y="1920983"/>
            <a:ext cx="6260789" cy="4133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587">
              <a:defRPr/>
            </a:pPr>
            <a:r>
              <a:rPr lang="en-US" sz="1804" b="1" kern="0" dirty="0">
                <a:solidFill>
                  <a:srgbClr val="FF0000"/>
                </a:solidFill>
                <a:latin typeface="Century Gothic" panose="020B0502020202020204" pitchFamily="34" charset="0"/>
                <a:ea typeface="Arial" charset="0"/>
                <a:cs typeface="Arial" charset="0"/>
              </a:rPr>
              <a:t>POPULATION LIVING IN A LARGE URBAN AREA </a:t>
            </a:r>
            <a:br>
              <a:rPr lang="en-US" sz="1804" b="1" kern="0" dirty="0">
                <a:solidFill>
                  <a:srgbClr val="FF0000"/>
                </a:solidFill>
                <a:latin typeface="Century Gothic" panose="020B0502020202020204" pitchFamily="34" charset="0"/>
                <a:ea typeface="Arial" charset="0"/>
                <a:cs typeface="Arial" charset="0"/>
              </a:rPr>
            </a:br>
            <a:endParaRPr lang="en-US" sz="1804" kern="0" dirty="0">
              <a:solidFill>
                <a:srgbClr val="FF0000"/>
              </a:solidFill>
              <a:latin typeface="Century Gothic" panose="020B05020202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62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8876" y="1477949"/>
            <a:ext cx="10515600" cy="992331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latin typeface="Century Gothic" panose="020B0502020202020204" pitchFamily="34" charset="0"/>
              </a:rPr>
              <a:t>IMMIGRATION AND DIVERSITY: </a:t>
            </a:r>
            <a:br>
              <a:rPr lang="en-US" dirty="0">
                <a:latin typeface="Century Gothic" panose="020B0502020202020204" pitchFamily="34" charset="0"/>
              </a:rPr>
            </a:br>
            <a:r>
              <a:rPr lang="en-US" dirty="0">
                <a:solidFill>
                  <a:srgbClr val="F1001B"/>
                </a:solidFill>
                <a:latin typeface="Century Gothic" panose="020B0502020202020204" pitchFamily="34" charset="0"/>
              </a:rPr>
              <a:t>2036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8347"/>
            <a:fld id="{BD3C05EE-9FAA-A243-8636-83F50486E55C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458347"/>
              <a:t>4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D7870C-9188-BA4F-9B85-B8E9C0767F0A}"/>
              </a:ext>
            </a:extLst>
          </p:cNvPr>
          <p:cNvSpPr/>
          <p:nvPr/>
        </p:nvSpPr>
        <p:spPr>
          <a:xfrm>
            <a:off x="6282409" y="2812881"/>
            <a:ext cx="6095204" cy="3346109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232357" defTabSz="458347">
              <a:lnSpc>
                <a:spcPct val="150000"/>
              </a:lnSpc>
              <a:buClr>
                <a:srgbClr val="F1001B"/>
              </a:buClr>
              <a:buFont typeface="Arial" panose="020B0604020202020204" pitchFamily="34" charset="0"/>
              <a:buChar char="•"/>
            </a:pPr>
            <a:r>
              <a:rPr lang="en-CA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30% Immigrants</a:t>
            </a:r>
          </a:p>
          <a:p>
            <a:pPr indent="232357" defTabSz="458347">
              <a:lnSpc>
                <a:spcPct val="150000"/>
              </a:lnSpc>
              <a:buClr>
                <a:srgbClr val="F1001B"/>
              </a:buClr>
              <a:buFont typeface="Arial" panose="020B0604020202020204" pitchFamily="34" charset="0"/>
              <a:buChar char="•"/>
            </a:pPr>
            <a:r>
              <a:rPr lang="en-CA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50% Immigrants + Canadian born children</a:t>
            </a:r>
          </a:p>
          <a:p>
            <a:pPr indent="232357" defTabSz="458347">
              <a:lnSpc>
                <a:spcPct val="150000"/>
              </a:lnSpc>
              <a:buClr>
                <a:srgbClr val="F1001B"/>
              </a:buClr>
              <a:buFont typeface="Arial" panose="020B0604020202020204" pitchFamily="34" charset="0"/>
              <a:buChar char="•"/>
            </a:pPr>
            <a:r>
              <a:rPr lang="en-CA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30% Other mother tongue</a:t>
            </a:r>
          </a:p>
          <a:p>
            <a:pPr indent="232357" defTabSz="458347">
              <a:lnSpc>
                <a:spcPct val="150000"/>
              </a:lnSpc>
              <a:buClr>
                <a:srgbClr val="F1001B"/>
              </a:buClr>
              <a:buFont typeface="Arial" panose="020B0604020202020204" pitchFamily="34" charset="0"/>
              <a:buChar char="•"/>
            </a:pPr>
            <a:r>
              <a:rPr lang="en-CA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40% Visible minority</a:t>
            </a:r>
          </a:p>
          <a:p>
            <a:pPr indent="232357" defTabSz="458347">
              <a:lnSpc>
                <a:spcPct val="150000"/>
              </a:lnSpc>
              <a:buClr>
                <a:srgbClr val="F1001B"/>
              </a:buClr>
              <a:buFont typeface="Arial" panose="020B0604020202020204" pitchFamily="34" charset="0"/>
              <a:buChar char="•"/>
            </a:pPr>
            <a:r>
              <a:rPr lang="en-CA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16% Non-Christian relig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04FE49-DC60-2642-8E90-130558707E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62012"/>
            <a:ext cx="5512229" cy="513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18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E1850F-518B-3927-C663-11390DB30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roup of people crossing a street&#10;&#10;Description automatically generated">
            <a:extLst>
              <a:ext uri="{FF2B5EF4-FFF2-40B4-BE49-F238E27FC236}">
                <a16:creationId xmlns:a16="http://schemas.microsoft.com/office/drawing/2014/main" id="{B5E8B749-D72A-16D0-733D-71E28747D7B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8D46690-18DE-2C5F-FCA2-C399EFA9A641}"/>
              </a:ext>
            </a:extLst>
          </p:cNvPr>
          <p:cNvSpPr/>
          <p:nvPr/>
        </p:nvSpPr>
        <p:spPr>
          <a:xfrm>
            <a:off x="0" y="0"/>
            <a:ext cx="6724185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BAC84A-A1AE-40AB-7C51-CE201BA77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50000"/>
            <a:ext cx="6647486" cy="3742438"/>
          </a:xfrm>
        </p:spPr>
        <p:txBody>
          <a:bodyPr/>
          <a:lstStyle/>
          <a:p>
            <a:r>
              <a:rPr lang="en-CA" sz="5400" i="1" dirty="0"/>
              <a:t>Where to from here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1AE036-2D67-763A-5C13-67B9C15416CB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44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1" name="Classification">
            <a:extLst>
              <a:ext uri="{FF2B5EF4-FFF2-40B4-BE49-F238E27FC236}">
                <a16:creationId xmlns:a16="http://schemas.microsoft.com/office/drawing/2014/main" id="{D680F7ED-2732-A846-E3C1-2BFB07119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Futurecasting</a:t>
            </a:r>
            <a:r>
              <a:rPr lang="en-GB" sz="800" dirty="0">
                <a:solidFill>
                  <a:schemeClr val="bg1"/>
                </a:solidFill>
                <a:effectLst/>
              </a:rPr>
              <a:t> | November 2024 | Client Use Only | Strictly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E78118-7290-324B-9D19-98FD8DE769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63361" y="6173519"/>
            <a:ext cx="492637" cy="44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830009"/>
      </p:ext>
    </p:extLst>
  </p:cSld>
  <p:clrMapOvr>
    <a:masterClrMapping/>
  </p:clrMapOvr>
  <p:transition spd="med">
    <p:pull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DCFD01F-51FC-A148-86BC-C64A2377761A}"/>
              </a:ext>
            </a:extLst>
          </p:cNvPr>
          <p:cNvSpPr txBox="1"/>
          <p:nvPr/>
        </p:nvSpPr>
        <p:spPr>
          <a:xfrm>
            <a:off x="8744873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54">
              <a:defRPr/>
            </a:pPr>
            <a:r>
              <a:rPr lang="en-US" sz="8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</a:rPr>
              <a:t>3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2907D1-1A2C-174E-93F9-7FCC90B4B57E}"/>
              </a:ext>
            </a:extLst>
          </p:cNvPr>
          <p:cNvSpPr txBox="1"/>
          <p:nvPr/>
        </p:nvSpPr>
        <p:spPr>
          <a:xfrm>
            <a:off x="378468" y="2153539"/>
            <a:ext cx="4498333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spcBef>
                <a:spcPts val="1800"/>
              </a:spcBef>
              <a:defRPr/>
            </a:pPr>
            <a:r>
              <a:rPr lang="en-US" sz="2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 Retirement </a:t>
            </a:r>
            <a:r>
              <a:rPr lang="en-US" sz="2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30): Every Boomer 65 or older.</a:t>
            </a:r>
          </a:p>
          <a:p>
            <a:pPr defTabSz="914354">
              <a:spcBef>
                <a:spcPts val="1800"/>
              </a:spcBef>
              <a:defRPr/>
            </a:pPr>
            <a:r>
              <a:rPr lang="en-US" sz="2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 Decline </a:t>
            </a:r>
            <a:r>
              <a:rPr lang="en-US" sz="2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40s): Final decade for Boomers.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F7A9E201-FC4B-C64E-BE4C-F0F68FAB80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957" y="6128667"/>
            <a:ext cx="452288" cy="4122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9F270D9-A5EA-6D4C-A228-11963A126EDB}"/>
              </a:ext>
            </a:extLst>
          </p:cNvPr>
          <p:cNvSpPr txBox="1"/>
          <p:nvPr/>
        </p:nvSpPr>
        <p:spPr>
          <a:xfrm>
            <a:off x="378465" y="543462"/>
            <a:ext cx="8860787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4267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</a:rPr>
              <a:t>Decades of </a:t>
            </a:r>
            <a:br>
              <a:rPr lang="en-US" sz="4267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</a:rPr>
            </a:br>
            <a:r>
              <a:rPr lang="en-US" sz="4267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Disruption</a:t>
            </a:r>
            <a:r>
              <a:rPr lang="en-US" sz="4267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</a:rPr>
              <a:t>…</a:t>
            </a:r>
          </a:p>
        </p:txBody>
      </p:sp>
      <p:pic>
        <p:nvPicPr>
          <p:cNvPr id="12" name="Picture Placeholder 11" descr="A close-up of an old person's face&#10;&#10;Description automatically generated">
            <a:extLst>
              <a:ext uri="{FF2B5EF4-FFF2-40B4-BE49-F238E27FC236}">
                <a16:creationId xmlns:a16="http://schemas.microsoft.com/office/drawing/2014/main" id="{97DD1204-EDBF-1452-3E06-E876BCD2BE1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8848" y="-4896"/>
            <a:ext cx="7073153" cy="6862896"/>
          </a:xfrm>
        </p:spPr>
      </p:pic>
    </p:spTree>
    <p:extLst>
      <p:ext uri="{BB962C8B-B14F-4D97-AF65-F5344CB8AC3E}">
        <p14:creationId xmlns:p14="http://schemas.microsoft.com/office/powerpoint/2010/main" val="2032806833"/>
      </p:ext>
    </p:extLst>
  </p:cSld>
  <p:clrMapOvr>
    <a:masterClrMapping/>
  </p:clrMapOvr>
  <p:transition spd="slow">
    <p:fade thruBlk="1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25152E9-7648-8AAF-35D8-CC38A6B46A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932" y="1139587"/>
            <a:ext cx="9498186" cy="3868080"/>
          </a:xfrm>
        </p:spPr>
        <p:txBody>
          <a:bodyPr>
            <a:normAutofit/>
          </a:bodyPr>
          <a:lstStyle/>
          <a:p>
            <a:r>
              <a:rPr lang="en-US" sz="3200" dirty="0"/>
              <a:t>1. Population is </a:t>
            </a:r>
            <a:r>
              <a:rPr lang="en-US" sz="3200" dirty="0">
                <a:solidFill>
                  <a:srgbClr val="FF0000"/>
                </a:solidFill>
              </a:rPr>
              <a:t>Aging</a:t>
            </a:r>
            <a:r>
              <a:rPr lang="en-US" sz="3200" dirty="0"/>
              <a:t> – Market is Changing</a:t>
            </a:r>
          </a:p>
          <a:p>
            <a:r>
              <a:rPr lang="en-US" sz="3200" dirty="0"/>
              <a:t>2. </a:t>
            </a:r>
            <a:r>
              <a:rPr lang="en-US" sz="3200" dirty="0">
                <a:solidFill>
                  <a:srgbClr val="FF0000"/>
                </a:solidFill>
              </a:rPr>
              <a:t>Suburbanization</a:t>
            </a:r>
            <a:r>
              <a:rPr lang="en-US" sz="3200" dirty="0"/>
              <a:t> is Reshaping Car Ownership</a:t>
            </a:r>
          </a:p>
          <a:p>
            <a:r>
              <a:rPr lang="en-US" sz="3200" dirty="0"/>
              <a:t>3. </a:t>
            </a:r>
            <a:r>
              <a:rPr lang="en-US" sz="3200" dirty="0">
                <a:solidFill>
                  <a:srgbClr val="FF0000"/>
                </a:solidFill>
              </a:rPr>
              <a:t>Fertility Decline</a:t>
            </a:r>
            <a:r>
              <a:rPr lang="en-US" sz="3200" dirty="0"/>
              <a:t> = Fewer New Young Drivers</a:t>
            </a:r>
          </a:p>
          <a:p>
            <a:r>
              <a:rPr lang="en-US" sz="3200" dirty="0"/>
              <a:t>4. </a:t>
            </a:r>
            <a:r>
              <a:rPr lang="en-US" sz="3200" dirty="0">
                <a:solidFill>
                  <a:srgbClr val="FF0000"/>
                </a:solidFill>
              </a:rPr>
              <a:t>Immigration</a:t>
            </a:r>
            <a:r>
              <a:rPr lang="en-US" sz="3200" dirty="0"/>
              <a:t> is Canada’s Growth Engine</a:t>
            </a:r>
          </a:p>
          <a:p>
            <a:r>
              <a:rPr lang="en-US" sz="3200" dirty="0"/>
              <a:t>5. The ‘</a:t>
            </a:r>
            <a:r>
              <a:rPr lang="en-US" sz="3200" dirty="0">
                <a:solidFill>
                  <a:srgbClr val="FF0000"/>
                </a:solidFill>
              </a:rPr>
              <a:t>Great Retirement</a:t>
            </a:r>
            <a:r>
              <a:rPr lang="en-US" sz="3200" dirty="0"/>
              <a:t>’ Will Reshape the Industry</a:t>
            </a:r>
          </a:p>
          <a:p>
            <a:endParaRPr lang="en-US" sz="2000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C16DC-FCB8-D282-6E01-93611CA32D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82932" y="6219235"/>
            <a:ext cx="360037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61AABEC-672F-4B68-B914-690DA978312C}" type="slidenum">
              <a:rPr lang="en-GB" smtClean="0"/>
              <a:pPr>
                <a:spcAft>
                  <a:spcPts val="600"/>
                </a:spcAft>
              </a:pPr>
              <a:t>46</a:t>
            </a:fld>
            <a:r>
              <a:rPr lang="en-GB"/>
              <a:t> ‒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7C3CB6-5123-685C-1DED-2F0A0B992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480131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Key Takeaways…  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7632F55-2582-6E5E-15A9-31C0F59962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8" y="5914632"/>
            <a:ext cx="11463417" cy="21544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849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BB4F173-0F48-A837-546D-CCDCE8D1B9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933" y="1454750"/>
            <a:ext cx="10624374" cy="3868080"/>
          </a:xfrm>
        </p:spPr>
        <p:txBody>
          <a:bodyPr/>
          <a:lstStyle/>
          <a:p>
            <a:pPr marL="85723" marR="0" lvl="0" indent="-85723" algn="l" defTabSz="914377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Future of Mobility is Evolving: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ccess will come from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ling 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arter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— understanding changing consumer demographics, adjusting to new mobility trends, and adapting to emerging opportunities. </a:t>
            </a:r>
          </a:p>
          <a:p>
            <a:pPr marL="85723" marR="0" lvl="0" indent="-85723" algn="l" defTabSz="914377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lang="en-US" sz="3200" dirty="0"/>
              <a:t>Dealers who recognize these shifts and pivot accordingly will be the ones who </a:t>
            </a:r>
            <a:r>
              <a:rPr lang="en-US" sz="3200" b="1" i="1" dirty="0">
                <a:solidFill>
                  <a:srgbClr val="FF0000"/>
                </a:solidFill>
              </a:rPr>
              <a:t>thrive</a:t>
            </a:r>
            <a:r>
              <a:rPr lang="en-US" sz="3200" b="1" dirty="0">
                <a:solidFill>
                  <a:srgbClr val="FF0000"/>
                </a:solidFill>
              </a:rPr>
              <a:t> in this new reality</a:t>
            </a:r>
            <a:r>
              <a:rPr lang="en-US" sz="3200" dirty="0"/>
              <a:t>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3B6BD9F-3C5D-28A9-C382-C23E2115A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382818"/>
            <a:ext cx="11382428" cy="646331"/>
          </a:xfrm>
        </p:spPr>
        <p:txBody>
          <a:bodyPr/>
          <a:lstStyle/>
          <a:p>
            <a:r>
              <a:rPr lang="en-US" sz="4000" dirty="0"/>
              <a:t>Final Thought…</a:t>
            </a:r>
          </a:p>
        </p:txBody>
      </p:sp>
    </p:spTree>
    <p:extLst>
      <p:ext uri="{BB962C8B-B14F-4D97-AF65-F5344CB8AC3E}">
        <p14:creationId xmlns:p14="http://schemas.microsoft.com/office/powerpoint/2010/main" val="190340977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AD6F5A-A95D-42C8-9EA7-EFAC2BC984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1"/>
            <a:ext cx="4572000" cy="6594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349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121B5A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blue light swirls on a planet&#10;&#10;Description automatically generated">
            <a:extLst>
              <a:ext uri="{FF2B5EF4-FFF2-40B4-BE49-F238E27FC236}">
                <a16:creationId xmlns:a16="http://schemas.microsoft.com/office/drawing/2014/main" id="{3EF50320-06A9-2C71-E918-405731E1A7B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D00193-1927-2BB6-4732-A68BD784B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4" y="1092494"/>
            <a:ext cx="6322696" cy="715669"/>
          </a:xfrm>
        </p:spPr>
        <p:txBody>
          <a:bodyPr>
            <a:normAutofit fontScale="90000"/>
          </a:bodyPr>
          <a:lstStyle/>
          <a:p>
            <a:r>
              <a:rPr lang="en-GB" sz="8000" dirty="0">
                <a:solidFill>
                  <a:prstClr val="white"/>
                </a:solidFill>
                <a:latin typeface="+mj-lt"/>
              </a:rPr>
              <a:t>THANK YOU</a:t>
            </a:r>
            <a:endParaRPr lang="en-GB" sz="8800" dirty="0">
              <a:solidFill>
                <a:schemeClr val="bg1"/>
              </a:solidFill>
              <a:latin typeface="+mj-lt"/>
              <a:ea typeface="Roboto Condensed Black" panose="02000000000000000000" pitchFamily="2" charset="0"/>
            </a:endParaRP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782C7F1D-FAE5-2571-7371-F778BBAA1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8763000" y="3429000"/>
            <a:ext cx="3429000" cy="3429000"/>
          </a:xfrm>
          <a:prstGeom prst="rt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B8BB6E0-1DB8-2B04-240E-27F4F0A1C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8094107" y="5581378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97D5D7A-D461-9E84-4995-3C9D69EDBC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6193331" y="427131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14" name="Text Box 1">
            <a:extLst>
              <a:ext uri="{FF2B5EF4-FFF2-40B4-BE49-F238E27FC236}">
                <a16:creationId xmlns:a16="http://schemas.microsoft.com/office/drawing/2014/main" id="{B0FB2565-6DD7-FFFA-98D7-61E6D965CFF5}"/>
              </a:ext>
            </a:extLst>
          </p:cNvPr>
          <p:cNvSpPr txBox="1">
            <a:spLocks/>
          </p:cNvSpPr>
          <p:nvPr/>
        </p:nvSpPr>
        <p:spPr>
          <a:xfrm>
            <a:off x="428624" y="2324847"/>
            <a:ext cx="3429000" cy="68140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SzPct val="100000"/>
              <a:buFont typeface="Wingdings 2" panose="05020102010507070707" pitchFamily="18" charset="2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SzPct val="100000"/>
              <a:buFont typeface="Wingdings 2" panose="05020102010507070707" pitchFamily="18" charset="2"/>
              <a:buChar char="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60350" algn="l" defTabSz="914400" rtl="0" eaLnBrk="1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Font typeface="Barlow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40602020203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800" b="1" dirty="0">
                <a:solidFill>
                  <a:schemeClr val="bg1"/>
                </a:solidFill>
              </a:rPr>
              <a:t>Darrell Bricker, Ph.D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800" dirty="0" err="1">
                <a:solidFill>
                  <a:schemeClr val="bg1"/>
                </a:solidFill>
              </a:rPr>
              <a:t>Darrell.Bricker@Ipsos.com</a:t>
            </a:r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85DEAE5-371D-FAD4-521F-8C887C7274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2436339" y="1958154"/>
            <a:ext cx="3323772" cy="1668966"/>
            <a:chOff x="12351657" y="5511799"/>
            <a:chExt cx="3323772" cy="1668966"/>
          </a:xfrm>
        </p:grpSpPr>
        <p:sp>
          <p:nvSpPr>
            <p:cNvPr id="16" name="Arrow: Left 15">
              <a:extLst>
                <a:ext uri="{FF2B5EF4-FFF2-40B4-BE49-F238E27FC236}">
                  <a16:creationId xmlns:a16="http://schemas.microsoft.com/office/drawing/2014/main" id="{76F64FAE-9672-FF7E-1E75-3326DFB2F2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351657" y="5511799"/>
              <a:ext cx="3323772" cy="1668966"/>
            </a:xfrm>
            <a:prstGeom prst="lef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Thank you page </a:t>
              </a:r>
              <a:r>
                <a:rPr lang="en-GB" sz="1600" b="1" dirty="0">
                  <a:solidFill>
                    <a:schemeClr val="tx1"/>
                  </a:solidFill>
                </a:rPr>
                <a:t>Option One </a:t>
              </a:r>
              <a:r>
                <a:rPr lang="en-GB" sz="1600" dirty="0">
                  <a:solidFill>
                    <a:schemeClr val="tx1"/>
                  </a:solidFill>
                </a:rPr>
                <a:t>– image may be changed as necessary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0008A163-3591-1C3A-CF47-A688E75796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66665" y="5631321"/>
              <a:ext cx="398463" cy="3984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316175"/>
      </p:ext>
    </p:extLst>
  </p:cSld>
  <p:clrMapOvr>
    <a:masterClrMapping/>
  </p:clrMapOvr>
  <p:transition spd="slow">
    <p:cover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863A795-31C4-0046-AC5F-E9F7E36D66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202" y="1496844"/>
            <a:ext cx="11519095" cy="4533841"/>
          </a:xfrm>
        </p:spPr>
        <p:txBody>
          <a:bodyPr/>
          <a:lstStyle/>
          <a:p>
            <a:pPr marL="228589" indent="-228589" defTabSz="914354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D95A1"/>
              </a:buClr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Population Bomb </a:t>
            </a:r>
            <a:r>
              <a:rPr lang="en-US" sz="3200" b="1" u="sng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explodes:</a:t>
            </a:r>
            <a:b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</a:b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8B today to 10.4B (or more) by 2100.</a:t>
            </a:r>
          </a:p>
          <a:p>
            <a:pPr marL="228589" indent="-228589" defTabSz="914354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D95A1"/>
              </a:buClr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We’re having </a:t>
            </a:r>
            <a:r>
              <a:rPr lang="en-US" sz="3200" b="1" u="sng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too many babies</a:t>
            </a: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.</a:t>
            </a:r>
          </a:p>
          <a:p>
            <a:pPr marL="228589" indent="-228589" defTabSz="914354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D95A1"/>
              </a:buClr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Unsustainable population growth will </a:t>
            </a:r>
            <a:r>
              <a:rPr lang="en-US" sz="3200" b="1" u="sng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destroy our planet</a:t>
            </a: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. </a:t>
            </a:r>
          </a:p>
          <a:p>
            <a:pPr marL="228589" indent="-228589" defTabSz="914354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D95A1"/>
              </a:buClr>
              <a:buFont typeface="Arial" panose="020B0604020202020204" pitchFamily="34" charset="0"/>
              <a:buChar char="•"/>
            </a:pPr>
            <a:r>
              <a:rPr lang="en-US" sz="3200" b="1" u="sng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Power of youth will dominate</a:t>
            </a:r>
            <a:r>
              <a:rPr lang="en-US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 our future – they are your top priority market.</a:t>
            </a:r>
          </a:p>
          <a:p>
            <a:pPr defTabSz="914354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D95A1"/>
              </a:buClr>
            </a:pPr>
            <a:r>
              <a:rPr lang="en-US" sz="2667" dirty="0">
                <a:solidFill>
                  <a:schemeClr val="tx1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charset="0"/>
              </a:rPr>
              <a:t>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B08880-A4DC-7641-8D6A-E06C5AAB4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35" y="331097"/>
            <a:ext cx="11539460" cy="590996"/>
          </a:xfrm>
        </p:spPr>
        <p:txBody>
          <a:bodyPr/>
          <a:lstStyle/>
          <a:p>
            <a:r>
              <a:rPr lang="en-US" sz="4267" dirty="0">
                <a:solidFill>
                  <a:srgbClr val="6D95A1"/>
                </a:solidFill>
                <a:latin typeface="Century Gothic" panose="020B0502020202020204" pitchFamily="34" charset="0"/>
              </a:rPr>
              <a:t>Population Dystopia…</a:t>
            </a:r>
          </a:p>
        </p:txBody>
      </p:sp>
    </p:spTree>
    <p:extLst>
      <p:ext uri="{BB962C8B-B14F-4D97-AF65-F5344CB8AC3E}">
        <p14:creationId xmlns:p14="http://schemas.microsoft.com/office/powerpoint/2010/main" val="3946646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7436E2-FB15-F53A-CB70-77D735CC5B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6516078-AFB2-F18A-FA65-3A78D4C6125D}"/>
              </a:ext>
            </a:extLst>
          </p:cNvPr>
          <p:cNvSpPr/>
          <p:nvPr/>
        </p:nvSpPr>
        <p:spPr>
          <a:xfrm>
            <a:off x="0" y="6006"/>
            <a:ext cx="12192000" cy="5772151"/>
          </a:xfrm>
          <a:prstGeom prst="rect">
            <a:avLst/>
          </a:prstGeom>
          <a:solidFill>
            <a:srgbClr val="6B9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8D6031F-E72C-3F42-9081-CF16A978AA33}"/>
              </a:ext>
            </a:extLst>
          </p:cNvPr>
          <p:cNvSpPr txBox="1">
            <a:spLocks/>
          </p:cNvSpPr>
          <p:nvPr/>
        </p:nvSpPr>
        <p:spPr>
          <a:xfrm>
            <a:off x="1768703" y="2177872"/>
            <a:ext cx="8654595" cy="215700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IT JUST AIN’T SO…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A7B1707-23F9-7907-1F65-23B7F9210D6B}"/>
              </a:ext>
            </a:extLst>
          </p:cNvPr>
          <p:cNvCxnSpPr>
            <a:cxnSpLocks/>
          </p:cNvCxnSpPr>
          <p:nvPr/>
        </p:nvCxnSpPr>
        <p:spPr>
          <a:xfrm>
            <a:off x="324880" y="664391"/>
            <a:ext cx="115422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686A917-BBB1-42B4-F9F2-166C4806FEBB}"/>
              </a:ext>
            </a:extLst>
          </p:cNvPr>
          <p:cNvSpPr txBox="1"/>
          <p:nvPr/>
        </p:nvSpPr>
        <p:spPr>
          <a:xfrm>
            <a:off x="378466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PTY PLANE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2CAFC2-8CC0-0B58-B3A0-E7DA7C9FA1A1}"/>
              </a:ext>
            </a:extLst>
          </p:cNvPr>
          <p:cNvSpPr txBox="1"/>
          <p:nvPr/>
        </p:nvSpPr>
        <p:spPr>
          <a:xfrm>
            <a:off x="8744872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85785180"/>
      </p:ext>
    </p:extLst>
  </p:cSld>
  <p:clrMapOvr>
    <a:masterClrMapping/>
  </p:clrMapOvr>
  <p:transition spd="slow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769A01-DDBA-450D-824E-60A3B8C98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431" y="1"/>
            <a:ext cx="11389904" cy="676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963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crowd of people walking down a street&#10;&#10;Description automatically generated">
            <a:extLst>
              <a:ext uri="{FF2B5EF4-FFF2-40B4-BE49-F238E27FC236}">
                <a16:creationId xmlns:a16="http://schemas.microsoft.com/office/drawing/2014/main" id="{0ED75C9E-9375-7643-E01B-C5DA29A43CA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189F7-844A-55D2-BA67-3378A54BAB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999" y="2567354"/>
            <a:ext cx="5498363" cy="3381009"/>
          </a:xfrm>
        </p:spPr>
        <p:txBody>
          <a:bodyPr/>
          <a:lstStyle/>
          <a:p>
            <a:r>
              <a:rPr lang="en-CA" dirty="0"/>
              <a:t>About </a:t>
            </a:r>
            <a:r>
              <a:rPr lang="en-CA" b="1" dirty="0"/>
              <a:t>us</a:t>
            </a:r>
            <a:r>
              <a:rPr lang="en-CA" dirty="0"/>
              <a:t> </a:t>
            </a:r>
          </a:p>
          <a:p>
            <a:r>
              <a:rPr lang="en-CA" dirty="0"/>
              <a:t>Better </a:t>
            </a:r>
            <a:r>
              <a:rPr lang="en-CA" b="1" dirty="0"/>
              <a:t>measurement</a:t>
            </a:r>
          </a:p>
          <a:p>
            <a:r>
              <a:rPr lang="en-CA" dirty="0"/>
              <a:t>Decisions </a:t>
            </a:r>
            <a:r>
              <a:rPr lang="en-CA" b="1" dirty="0"/>
              <a:t>already made</a:t>
            </a:r>
          </a:p>
          <a:p>
            <a:r>
              <a:rPr lang="en-CA" b="1" dirty="0"/>
              <a:t>Projectable</a:t>
            </a:r>
          </a:p>
          <a:p>
            <a:r>
              <a:rPr lang="en-CA" b="1" dirty="0"/>
              <a:t>Facts</a:t>
            </a:r>
            <a:r>
              <a:rPr lang="en-CA" dirty="0"/>
              <a:t> – can disagree about speed and levels, but </a:t>
            </a:r>
            <a:r>
              <a:rPr lang="en-CA" b="1" dirty="0"/>
              <a:t>trends undeniab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6055DC-668D-1193-0797-8AB8277C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951" y="1185968"/>
            <a:ext cx="5498363" cy="715669"/>
          </a:xfrm>
        </p:spPr>
        <p:txBody>
          <a:bodyPr/>
          <a:lstStyle/>
          <a:p>
            <a:r>
              <a:rPr lang="en-CA" dirty="0"/>
              <a:t>Demographic Facts…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7F4DF9-A219-06D9-4DFA-6D50F4945FBE}"/>
              </a:ext>
            </a:extLst>
          </p:cNvPr>
          <p:cNvSpPr txBox="1"/>
          <p:nvPr/>
        </p:nvSpPr>
        <p:spPr>
          <a:xfrm>
            <a:off x="449999" y="480147"/>
            <a:ext cx="1695977" cy="22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</a:pPr>
            <a:r>
              <a:rPr lang="en-CA" sz="1400" spc="3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MPTY PLANET</a:t>
            </a:r>
          </a:p>
        </p:txBody>
      </p:sp>
    </p:spTree>
    <p:extLst>
      <p:ext uri="{BB962C8B-B14F-4D97-AF65-F5344CB8AC3E}">
        <p14:creationId xmlns:p14="http://schemas.microsoft.com/office/powerpoint/2010/main" val="252038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982C3B-91EE-6243-BC3C-531F21B7B967}"/>
              </a:ext>
            </a:extLst>
          </p:cNvPr>
          <p:cNvSpPr/>
          <p:nvPr/>
        </p:nvSpPr>
        <p:spPr>
          <a:xfrm>
            <a:off x="0" y="6006"/>
            <a:ext cx="12192000" cy="5772151"/>
          </a:xfrm>
          <a:prstGeom prst="rect">
            <a:avLst/>
          </a:prstGeom>
          <a:solidFill>
            <a:srgbClr val="6B96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33D5FD3-7D71-DA4E-84D8-57C5F8F9B2CD}"/>
              </a:ext>
            </a:extLst>
          </p:cNvPr>
          <p:cNvSpPr txBox="1">
            <a:spLocks/>
          </p:cNvSpPr>
          <p:nvPr/>
        </p:nvSpPr>
        <p:spPr>
          <a:xfrm>
            <a:off x="1768703" y="2177872"/>
            <a:ext cx="8654595" cy="215700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lnSpc>
                <a:spcPct val="100000"/>
              </a:lnSpc>
            </a:pPr>
            <a:r>
              <a:rPr lang="en-US" sz="4000" b="1" dirty="0">
                <a:solidFill>
                  <a:prstClr val="white"/>
                </a:solidFill>
                <a:latin typeface="Arial" panose="020B0604020202020204" pitchFamily="34" charset="0"/>
              </a:rPr>
              <a:t>Global Population will Peak </a:t>
            </a:r>
            <a:br>
              <a:rPr lang="en-US" sz="4000" b="1" dirty="0">
                <a:solidFill>
                  <a:prstClr val="white"/>
                </a:solidFill>
                <a:latin typeface="Arial" panose="020B0604020202020204" pitchFamily="34" charset="0"/>
              </a:rPr>
            </a:br>
            <a:r>
              <a:rPr lang="en-US" sz="4000" b="1" dirty="0">
                <a:solidFill>
                  <a:prstClr val="white"/>
                </a:solidFill>
                <a:latin typeface="Arial" panose="020B0604020202020204" pitchFamily="34" charset="0"/>
              </a:rPr>
              <a:t>Mid-Century, Decline to </a:t>
            </a:r>
            <a:br>
              <a:rPr lang="en-US" sz="4000" b="1" dirty="0">
                <a:solidFill>
                  <a:prstClr val="white"/>
                </a:solidFill>
                <a:latin typeface="Arial" panose="020B0604020202020204" pitchFamily="34" charset="0"/>
              </a:rPr>
            </a:br>
            <a:r>
              <a:rPr lang="en-US" sz="4000" b="1" dirty="0">
                <a:solidFill>
                  <a:prstClr val="white"/>
                </a:solidFill>
                <a:latin typeface="Arial" panose="020B0604020202020204" pitchFamily="34" charset="0"/>
              </a:rPr>
              <a:t>Where it is Today, or Fewer...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6192459-4026-A946-9B9E-B6911D86F7BA}"/>
              </a:ext>
            </a:extLst>
          </p:cNvPr>
          <p:cNvCxnSpPr>
            <a:cxnSpLocks/>
          </p:cNvCxnSpPr>
          <p:nvPr/>
        </p:nvCxnSpPr>
        <p:spPr>
          <a:xfrm>
            <a:off x="324880" y="664391"/>
            <a:ext cx="115422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830F0DD-E9CB-F141-BE75-CBEE1FC5A9DB}"/>
              </a:ext>
            </a:extLst>
          </p:cNvPr>
          <p:cNvSpPr txBox="1"/>
          <p:nvPr/>
        </p:nvSpPr>
        <p:spPr>
          <a:xfrm>
            <a:off x="378466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800" b="1" dirty="0">
                <a:solidFill>
                  <a:prstClr val="white"/>
                </a:solidFill>
                <a:latin typeface="Arial" panose="020B0604020202020204" pitchFamily="34" charset="0"/>
              </a:rPr>
              <a:t>EMPTY PLANE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05FDA4-FB3F-1847-85A7-40CABDA9C190}"/>
              </a:ext>
            </a:extLst>
          </p:cNvPr>
          <p:cNvSpPr txBox="1"/>
          <p:nvPr/>
        </p:nvSpPr>
        <p:spPr>
          <a:xfrm>
            <a:off x="8744872" y="383629"/>
            <a:ext cx="30686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/>
            <a:r>
              <a:rPr lang="en-US" sz="800" b="1" dirty="0">
                <a:solidFill>
                  <a:prstClr val="white"/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82507096"/>
      </p:ext>
    </p:extLst>
  </p:cSld>
  <p:clrMapOvr>
    <a:masterClrMapping/>
  </p:clrMapOvr>
  <p:transition spd="slow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2">
  <a:themeElements>
    <a:clrScheme name="Ipsos_2024_v2">
      <a:dk1>
        <a:srgbClr val="000000"/>
      </a:dk1>
      <a:lt1>
        <a:sysClr val="window" lastClr="FFFFFF"/>
      </a:lt1>
      <a:dk2>
        <a:srgbClr val="1DAFAD"/>
      </a:dk2>
      <a:lt2>
        <a:srgbClr val="103C50"/>
      </a:lt2>
      <a:accent1>
        <a:srgbClr val="121B5A"/>
      </a:accent1>
      <a:accent2>
        <a:srgbClr val="E2DA51"/>
      </a:accent2>
      <a:accent3>
        <a:srgbClr val="FF740F"/>
      </a:accent3>
      <a:accent4>
        <a:srgbClr val="452567"/>
      </a:accent4>
      <a:accent5>
        <a:srgbClr val="E50158"/>
      </a:accent5>
      <a:accent6>
        <a:srgbClr val="9FE5D8"/>
      </a:accent6>
      <a:hlink>
        <a:srgbClr val="2F469C"/>
      </a:hlink>
      <a:folHlink>
        <a:srgbClr val="84329B"/>
      </a:folHlink>
    </a:clrScheme>
    <a:fontScheme name="Ipsos General">
      <a:majorFont>
        <a:latin typeface="Barlow Semi Condensed Extra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BF0"/>
        </a:solidFill>
        <a:ln>
          <a:noFill/>
        </a:ln>
      </a:spPr>
      <a:bodyPr rtlCol="0" anchor="t"/>
      <a:lstStyle>
        <a:defPPr algn="l">
          <a:lnSpc>
            <a:spcPct val="112000"/>
          </a:lnSpc>
          <a:spcBef>
            <a:spcPts val="400"/>
          </a:spcBef>
          <a:spcAft>
            <a:spcPts val="400"/>
          </a:spcAft>
          <a:defRPr sz="2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5000"/>
          </a:lnSpc>
          <a:spcBef>
            <a:spcPts val="400"/>
          </a:spcBef>
          <a:spcAft>
            <a:spcPts val="400"/>
          </a:spcAft>
          <a:defRPr sz="2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Green">
      <a:srgbClr val="2DB574"/>
    </a:custClr>
    <a:custClr name="Sky Blue">
      <a:srgbClr val="A5CEE3"/>
    </a:custClr>
    <a:custClr name="Lilac">
      <a:srgbClr val="E3D8F0"/>
    </a:custClr>
    <a:custClr name="Pastel Pink">
      <a:srgbClr val="FFE1EC"/>
    </a:custClr>
    <a:custClr name="Yellow Meringue">
      <a:srgbClr val="F3F0B9"/>
    </a:custClr>
    <a:custClr name="Delicate Turquoise">
      <a:srgbClr val="9FE5D8"/>
    </a:custClr>
    <a:custClr name=" -- ">
      <a:srgbClr val="FFFFFF"/>
    </a:custClr>
    <a:custClr name="Light Grey">
      <a:srgbClr val="E7EBF0"/>
    </a:custClr>
    <a:custClr name="Mid Grey">
      <a:srgbClr val="585858"/>
    </a:custClr>
  </a:custClrLst>
  <a:extLst>
    <a:ext uri="{05A4C25C-085E-4340-85A3-A5531E510DB2}">
      <thm15:themeFamily xmlns:thm15="http://schemas.microsoft.com/office/thememl/2012/main" name="Ipsos PPT template_EN_presentation_recovered.potx" id="{41255400-DA43-4DCB-A59B-9BBEC46D12E1}" vid="{B9387645-FFF9-4286-9641-A09DCE5FDF7F}"/>
    </a:ext>
  </a:extLst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Barlow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Barlow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Barlow"/>
        <a:font script="Hebr" typeface="Barlow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Barlow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Barlow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Barlow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Barlow"/>
        <a:font script="Hebr" typeface="Barlow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Barlow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Them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Ipsos Colours 2012">
    <a:dk1>
      <a:srgbClr val="415A9C"/>
    </a:dk1>
    <a:lt1>
      <a:sysClr val="window" lastClr="FFFFFF"/>
    </a:lt1>
    <a:dk2>
      <a:srgbClr val="415A9C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8080"/>
    </a:hlink>
    <a:folHlink>
      <a:srgbClr val="800080"/>
    </a:folHlink>
  </a:clrScheme>
  <a:fontScheme name="Benutzerdefiniert 4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Ipsos Colours 2012">
    <a:dk1>
      <a:srgbClr val="415A9C"/>
    </a:dk1>
    <a:lt1>
      <a:sysClr val="window" lastClr="FFFFFF"/>
    </a:lt1>
    <a:dk2>
      <a:srgbClr val="415A9C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8080"/>
    </a:hlink>
    <a:folHlink>
      <a:srgbClr val="800080"/>
    </a:folHlink>
  </a:clrScheme>
  <a:fontScheme name="Benutzerdefiniert 4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Ipsos Colours 2012">
    <a:dk1>
      <a:srgbClr val="415A9C"/>
    </a:dk1>
    <a:lt1>
      <a:sysClr val="window" lastClr="FFFFFF"/>
    </a:lt1>
    <a:dk2>
      <a:srgbClr val="415A9C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8080"/>
    </a:hlink>
    <a:folHlink>
      <a:srgbClr val="800080"/>
    </a:folHlink>
  </a:clrScheme>
  <a:fontScheme name="Benutzerdefiniert 4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45F02492F59C429DB1B51D5E55269E" ma:contentTypeVersion="18" ma:contentTypeDescription="Create a new document." ma:contentTypeScope="" ma:versionID="02a18d49928545b4538e4204310901f2">
  <xsd:schema xmlns:xsd="http://www.w3.org/2001/XMLSchema" xmlns:xs="http://www.w3.org/2001/XMLSchema" xmlns:p="http://schemas.microsoft.com/office/2006/metadata/properties" xmlns:ns2="78744c05-9996-4763-b300-7f5396c546a7" xmlns:ns3="b56a59c9-8576-4276-80a2-d143547be2f6" targetNamespace="http://schemas.microsoft.com/office/2006/metadata/properties" ma:root="true" ma:fieldsID="e76b6f3663060f958f9eb299bf9e7108" ns2:_="" ns3:_="">
    <xsd:import namespace="78744c05-9996-4763-b300-7f5396c546a7"/>
    <xsd:import namespace="b56a59c9-8576-4276-80a2-d143547be2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744c05-9996-4763-b300-7f5396c546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efecde7-275d-430a-b170-a26676f4a01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6a59c9-8576-4276-80a2-d143547be2f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49a6438-42af-4fec-8007-8bba5edd3030}" ma:internalName="TaxCatchAll" ma:showField="CatchAllData" ma:web="b56a59c9-8576-4276-80a2-d143547be2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744c05-9996-4763-b300-7f5396c546a7">
      <Terms xmlns="http://schemas.microsoft.com/office/infopath/2007/PartnerControls"/>
    </lcf76f155ced4ddcb4097134ff3c332f>
    <TaxCatchAll xmlns="b56a59c9-8576-4276-80a2-d143547be2f6" xsi:nil="true"/>
  </documentManagement>
</p:properties>
</file>

<file path=customXml/itemProps1.xml><?xml version="1.0" encoding="utf-8"?>
<ds:datastoreItem xmlns:ds="http://schemas.openxmlformats.org/officeDocument/2006/customXml" ds:itemID="{676A31D0-D410-459F-8B3A-5041DA332E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F2026A-2C38-4A61-B3E9-2C7A42B65D91}"/>
</file>

<file path=customXml/itemProps3.xml><?xml version="1.0" encoding="utf-8"?>
<ds:datastoreItem xmlns:ds="http://schemas.openxmlformats.org/officeDocument/2006/customXml" ds:itemID="{DE9F5D46-0D18-4E51-B0BB-23A7F75C0A59}">
  <ds:schemaRefs>
    <ds:schemaRef ds:uri="http://purl.org/dc/dcmitype/"/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a1549414-1dcc-402f-ba9b-44c1b3f5d57c"/>
    <ds:schemaRef ds:uri="85c76272-7e4d-4f8f-89d1-3b227e52ef43"/>
    <ds:schemaRef ds:uri="10c470b6-6943-4b25-8840-1f9dda3bdcb8"/>
    <ds:schemaRef ds:uri="44624973-eda7-4d1d-840c-1d76c87d6b4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2</Template>
  <TotalTime>1734</TotalTime>
  <Words>924</Words>
  <Application>Microsoft Office PowerPoint</Application>
  <PresentationFormat>Widescreen</PresentationFormat>
  <Paragraphs>279</Paragraphs>
  <Slides>4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9" baseType="lpstr">
      <vt:lpstr>Wingdings 2</vt:lpstr>
      <vt:lpstr>HelveticaNeueLT Std Lt Cn</vt:lpstr>
      <vt:lpstr>Aptos</vt:lpstr>
      <vt:lpstr>Arial Black</vt:lpstr>
      <vt:lpstr>Barlow</vt:lpstr>
      <vt:lpstr>Century Gothic</vt:lpstr>
      <vt:lpstr>Arial</vt:lpstr>
      <vt:lpstr>Aptos Display</vt:lpstr>
      <vt:lpstr>Wingdings</vt:lpstr>
      <vt:lpstr>Calibri</vt:lpstr>
      <vt:lpstr>Calibri Light</vt:lpstr>
      <vt:lpstr>Theme2</vt:lpstr>
      <vt:lpstr>Custom Design</vt:lpstr>
      <vt:lpstr>1_Office Theme</vt:lpstr>
      <vt:lpstr>IPSOS - Classical Template - 16x9</vt:lpstr>
      <vt:lpstr>Office Theme</vt:lpstr>
      <vt:lpstr>3_IPSOS - Classical Template - 16x9</vt:lpstr>
      <vt:lpstr>2_Office Theme</vt:lpstr>
      <vt:lpstr>4_IPSOS - Classical Template - 16x9</vt:lpstr>
      <vt:lpstr>Diapositive think-cell</vt:lpstr>
      <vt:lpstr>Catalysts of change</vt:lpstr>
      <vt:lpstr>PowerPoint Presentation</vt:lpstr>
      <vt:lpstr>Humanity Evolving…</vt:lpstr>
      <vt:lpstr>“Demography is Destiny”   Auguste Comte</vt:lpstr>
      <vt:lpstr>Population Dystopia…</vt:lpstr>
      <vt:lpstr>PowerPoint Presentation</vt:lpstr>
      <vt:lpstr>PowerPoint Presentation</vt:lpstr>
      <vt:lpstr>Demographic Facts… </vt:lpstr>
      <vt:lpstr>PowerPoint Presentation</vt:lpstr>
      <vt:lpstr>PowerPoint Presentation</vt:lpstr>
      <vt:lpstr>PowerPoint Presentation</vt:lpstr>
      <vt:lpstr>Why is This Happening?</vt:lpstr>
      <vt:lpstr>Urbanization</vt:lpstr>
      <vt:lpstr>Biggest Migration in Human History…</vt:lpstr>
      <vt:lpstr>Urbanization for 10 Most Populous Countries</vt:lpstr>
      <vt:lpstr>Canada Rural vs Urban Population   by Decade</vt:lpstr>
      <vt:lpstr>Canada’s Regions by Share Of Population</vt:lpstr>
      <vt:lpstr>Where Canadians Live 2021</vt:lpstr>
      <vt:lpstr>Ten Fastest Growing Canadian Cities (2000-2024)</vt:lpstr>
      <vt:lpstr>Heartlands Shifting</vt:lpstr>
      <vt:lpstr>FERTILITY</vt:lpstr>
      <vt:lpstr>Replacement Rate</vt:lpstr>
      <vt:lpstr>Fertility Will Continue to Decline…</vt:lpstr>
      <vt:lpstr>PowerPoint Presentation</vt:lpstr>
      <vt:lpstr>Why is Fertility Declining?</vt:lpstr>
      <vt:lpstr>Trends in Household Composition in Canada (2011-2021)</vt:lpstr>
      <vt:lpstr>PowerPoint Presentation</vt:lpstr>
      <vt:lpstr>AGING</vt:lpstr>
      <vt:lpstr>Life Expectancy | World’s 10 Most Populous Countries </vt:lpstr>
      <vt:lpstr>Average Lifespan Of Canadians</vt:lpstr>
      <vt:lpstr>Causes of Death that Most Contribute to Differences in Life Expectancy at Birth Globally for Men and Women, 2016</vt:lpstr>
      <vt:lpstr>Flipping the Pyramid…</vt:lpstr>
      <vt:lpstr>CANADA population by age and sex</vt:lpstr>
      <vt:lpstr>More Seniors Than Kids…</vt:lpstr>
      <vt:lpstr>Italy population by age and sex</vt:lpstr>
      <vt:lpstr>PowerPoint Presentation</vt:lpstr>
      <vt:lpstr>NIGERIA population by age and sex</vt:lpstr>
      <vt:lpstr>IMMIGRATION</vt:lpstr>
      <vt:lpstr>Percentage of Canadian Population Foreign Born</vt:lpstr>
      <vt:lpstr>Top 10 Countries Of Birth Of  New Permanent Residents To Canada</vt:lpstr>
      <vt:lpstr>Share Of Population, Share Of Immigrants </vt:lpstr>
      <vt:lpstr>9 OF 10 IMMIGRANTS LIVE IN URBAN CANADA</vt:lpstr>
      <vt:lpstr>IMMIGRATION AND DIVERSITY:  2036</vt:lpstr>
      <vt:lpstr>Where to from here?</vt:lpstr>
      <vt:lpstr>PowerPoint Presentation</vt:lpstr>
      <vt:lpstr>Key Takeaways…  </vt:lpstr>
      <vt:lpstr>Final Thought…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Ipsos Report</dc:subject>
  <dc:creator>Emineh Babayan</dc:creator>
  <cp:lastModifiedBy>Darrell Bricker</cp:lastModifiedBy>
  <cp:revision>12</cp:revision>
  <dcterms:created xsi:type="dcterms:W3CDTF">2024-11-18T15:36:35Z</dcterms:created>
  <dcterms:modified xsi:type="dcterms:W3CDTF">2025-02-06T15:4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45F02492F59C429DB1B51D5E55269E</vt:lpwstr>
  </property>
  <property fmtid="{D5CDD505-2E9C-101B-9397-08002B2CF9AE}" pid="3" name="MediaServiceImageTags">
    <vt:lpwstr/>
  </property>
</Properties>
</file>